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1" r:id="rId2"/>
  </p:sldIdLst>
  <p:sldSz cx="9601200" cy="12801600" type="A3"/>
  <p:notesSz cx="9926638" cy="14355763"/>
  <p:custDataLst>
    <p:tags r:id="rId5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566">
          <p15:clr>
            <a:srgbClr val="A4A3A4"/>
          </p15:clr>
        </p15:guide>
        <p15:guide id="2" orient="horz" pos="6856">
          <p15:clr>
            <a:srgbClr val="A4A3A4"/>
          </p15:clr>
        </p15:guide>
        <p15:guide id="3" orient="horz" pos="7581">
          <p15:clr>
            <a:srgbClr val="A4A3A4"/>
          </p15:clr>
        </p15:guide>
        <p15:guide id="4" orient="horz" pos="1378">
          <p15:clr>
            <a:srgbClr val="A4A3A4"/>
          </p15:clr>
        </p15:guide>
        <p15:guide id="5" orient="horz" pos="6515">
          <p15:clr>
            <a:srgbClr val="A4A3A4"/>
          </p15:clr>
        </p15:guide>
        <p15:guide id="6" pos="239">
          <p15:clr>
            <a:srgbClr val="A4A3A4"/>
          </p15:clr>
        </p15:guide>
        <p15:guide id="7" pos="58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1">
          <p15:clr>
            <a:srgbClr val="A4A3A4"/>
          </p15:clr>
        </p15:guide>
        <p15:guide id="2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EEEE4"/>
    <a:srgbClr val="696E68"/>
    <a:srgbClr val="CADCEC"/>
    <a:srgbClr val="0E98AE"/>
    <a:srgbClr val="004669"/>
    <a:srgbClr val="B9C523"/>
    <a:srgbClr val="629415"/>
    <a:srgbClr val="F8E06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10" autoAdjust="0"/>
    <p:restoredTop sz="71665" autoAdjust="0"/>
  </p:normalViewPr>
  <p:slideViewPr>
    <p:cSldViewPr snapToGrid="0">
      <p:cViewPr>
        <p:scale>
          <a:sx n="53" d="100"/>
          <a:sy n="53" d="100"/>
        </p:scale>
        <p:origin x="1368" y="42"/>
      </p:cViewPr>
      <p:guideLst>
        <p:guide orient="horz" pos="1566"/>
        <p:guide orient="horz" pos="6856"/>
        <p:guide orient="horz" pos="7581"/>
        <p:guide orient="horz" pos="1378"/>
        <p:guide orient="horz" pos="6515"/>
        <p:guide pos="239"/>
        <p:guide pos="58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744" y="-102"/>
      </p:cViewPr>
      <p:guideLst>
        <p:guide orient="horz" pos="452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4302402" cy="718367"/>
          </a:xfrm>
          <a:prstGeom prst="rect">
            <a:avLst/>
          </a:prstGeom>
        </p:spPr>
        <p:txBody>
          <a:bodyPr vert="horz" lIns="133732" tIns="66866" rIns="133732" bIns="66866" rtlCol="0"/>
          <a:lstStyle>
            <a:lvl1pPr algn="l">
              <a:defRPr sz="17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5621897" y="0"/>
            <a:ext cx="4302400" cy="718367"/>
          </a:xfrm>
          <a:prstGeom prst="rect">
            <a:avLst/>
          </a:prstGeom>
        </p:spPr>
        <p:txBody>
          <a:bodyPr vert="horz" lIns="133732" tIns="66866" rIns="133732" bIns="66866" rtlCol="0"/>
          <a:lstStyle>
            <a:lvl1pPr algn="r">
              <a:defRPr sz="1700"/>
            </a:lvl1pPr>
          </a:lstStyle>
          <a:p>
            <a:fld id="{DA526B7E-4E69-4316-A373-BAD7945F255F}" type="datetimeFigureOut">
              <a:rPr lang="da-DK" smtClean="0"/>
              <a:pPr/>
              <a:t>22-09-2015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3" y="13635088"/>
            <a:ext cx="4302402" cy="718365"/>
          </a:xfrm>
          <a:prstGeom prst="rect">
            <a:avLst/>
          </a:prstGeom>
        </p:spPr>
        <p:txBody>
          <a:bodyPr vert="horz" lIns="133732" tIns="66866" rIns="133732" bIns="66866" rtlCol="0" anchor="b"/>
          <a:lstStyle>
            <a:lvl1pPr algn="l">
              <a:defRPr sz="17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5621897" y="13635088"/>
            <a:ext cx="4302400" cy="718365"/>
          </a:xfrm>
          <a:prstGeom prst="rect">
            <a:avLst/>
          </a:prstGeom>
        </p:spPr>
        <p:txBody>
          <a:bodyPr vert="horz" lIns="133732" tIns="66866" rIns="133732" bIns="66866" rtlCol="0" anchor="b"/>
          <a:lstStyle>
            <a:lvl1pPr algn="r">
              <a:defRPr sz="1700"/>
            </a:lvl1pPr>
          </a:lstStyle>
          <a:p>
            <a:fld id="{5CD57E57-8544-41DD-9E4D-E797284126E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115809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4301544" cy="71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3732" tIns="66866" rIns="133732" bIns="66866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7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797" y="0"/>
            <a:ext cx="4301544" cy="71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3732" tIns="66866" rIns="133732" bIns="66866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7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43225" y="1076325"/>
            <a:ext cx="4040188" cy="5384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665" y="6818990"/>
            <a:ext cx="7941310" cy="6460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3732" tIns="66866" rIns="133732" bIns="668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13635486"/>
            <a:ext cx="4301544" cy="71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3732" tIns="66866" rIns="133732" bIns="66866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7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797" y="13635486"/>
            <a:ext cx="4301544" cy="71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3732" tIns="66866" rIns="133732" bIns="66866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7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en-GB" smtClean="0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4295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806398"/>
            <a:ext cx="9601200" cy="7392000"/>
          </a:xfrm>
          <a:solidFill>
            <a:srgbClr val="EEEEE4"/>
          </a:solidFill>
        </p:spPr>
        <p:txBody>
          <a:bodyPr bIns="1440000" anchor="b" anchorCtr="0"/>
          <a:lstStyle>
            <a:lvl1pPr marL="0" indent="0" algn="ctr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2"/>
          <a:ext cx="166688" cy="296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66688" cy="2963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23385" y="3256695"/>
            <a:ext cx="4808293" cy="76157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23385" y="1318681"/>
            <a:ext cx="4806161" cy="1680189"/>
          </a:xfrm>
        </p:spPr>
        <p:txBody>
          <a:bodyPr anchor="t" anchorCtr="0"/>
          <a:lstStyle>
            <a:lvl1pPr>
              <a:lnSpc>
                <a:spcPts val="2800"/>
              </a:lnSpc>
              <a:defRPr sz="2500" cap="all" spc="3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noProof="0" dirty="0" smtClean="0"/>
              <a:t>Click to edit </a:t>
            </a:r>
            <a:br>
              <a:rPr lang="en-GB" noProof="0" dirty="0" smtClean="0"/>
            </a:br>
            <a:r>
              <a:rPr lang="en-GB" noProof="0" dirty="0" smtClean="0"/>
              <a:t>Master title style</a:t>
            </a:r>
            <a:endParaRPr lang="en-GB" noProof="0" dirty="0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23384" y="8573250"/>
            <a:ext cx="3275793" cy="276999"/>
          </a:xfrm>
        </p:spPr>
        <p:txBody>
          <a:bodyPr wrap="square" anchor="b">
            <a:spAutoFit/>
          </a:bodyPr>
          <a:lstStyle>
            <a:lvl1pPr marL="0" indent="0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Click to insert name</a:t>
            </a:r>
            <a:endParaRPr lang="en-GB" noProof="0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23384" y="8896699"/>
            <a:ext cx="3275793" cy="27699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Click to insert date</a:t>
            </a:r>
            <a:endParaRPr lang="en-GB" noProof="0" dirty="0"/>
          </a:p>
        </p:txBody>
      </p:sp>
      <p:pic>
        <p:nvPicPr>
          <p:cNvPr id="10" name="Billede 7" descr="DONG Energy CMY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005366" y="11652741"/>
            <a:ext cx="1221231" cy="752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7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15879" y="352644"/>
            <a:ext cx="2206943" cy="10753936"/>
          </a:xfrm>
        </p:spPr>
        <p:txBody>
          <a:bodyPr vert="eaVert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0050" y="352644"/>
            <a:ext cx="6465807" cy="10753936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DA0E7A-2063-471C-A9BB-FAB0C62B10A0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02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01200" cy="12801600"/>
          </a:xfrm>
          <a:solidFill>
            <a:schemeClr val="bg1">
              <a:lumMod val="50000"/>
            </a:schemeClr>
          </a:solidFill>
        </p:spPr>
        <p:txBody>
          <a:bodyPr bIns="2880000" anchor="b" anchorCtr="0"/>
          <a:lstStyle>
            <a:lvl1pPr marL="0" indent="0" algn="ctr">
              <a:buNone/>
              <a:defRPr>
                <a:solidFill>
                  <a:srgbClr val="DCDCE0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10" name="Billede 7" descr="DONG Energy hvid.eps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769" y="11652480"/>
            <a:ext cx="1221231" cy="753375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2"/>
          <a:ext cx="166688" cy="296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66688" cy="2963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23385" y="3256695"/>
            <a:ext cx="4808293" cy="76157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23385" y="1318681"/>
            <a:ext cx="4806161" cy="1680189"/>
          </a:xfrm>
        </p:spPr>
        <p:txBody>
          <a:bodyPr anchor="t" anchorCtr="0"/>
          <a:lstStyle>
            <a:lvl1pPr>
              <a:lnSpc>
                <a:spcPts val="2800"/>
              </a:lnSpc>
              <a:defRPr sz="25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edit </a:t>
            </a:r>
            <a:br>
              <a:rPr lang="en-GB" noProof="0" dirty="0" smtClean="0"/>
            </a:br>
            <a:r>
              <a:rPr lang="en-GB" noProof="0" dirty="0" smtClean="0"/>
              <a:t>Master title style</a:t>
            </a:r>
            <a:endParaRPr lang="en-GB" noProof="0" dirty="0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23384" y="8573250"/>
            <a:ext cx="3275793" cy="276999"/>
          </a:xfrm>
        </p:spPr>
        <p:txBody>
          <a:bodyPr wrap="square" anchor="b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insert name</a:t>
            </a:r>
            <a:endParaRPr lang="en-GB" noProof="0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23384" y="8896699"/>
            <a:ext cx="3275793" cy="27699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insert 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7752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5471114" y="12183358"/>
            <a:ext cx="2240280" cy="262080"/>
          </a:xfrm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9151" y="12322329"/>
            <a:ext cx="279138" cy="123111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2186941"/>
            <a:ext cx="9601200" cy="8694420"/>
          </a:xfrm>
          <a:prstGeom prst="rect">
            <a:avLst/>
          </a:prstGeom>
          <a:solidFill>
            <a:srgbClr val="EEEEE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378002" y="2480311"/>
            <a:ext cx="8848152" cy="785890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8" name="Title 7"/>
          <p:cNvSpPr>
            <a:spLocks noGrp="1"/>
          </p:cNvSpPr>
          <p:nvPr>
            <p:ph type="title"/>
          </p:nvPr>
        </p:nvSpPr>
        <p:spPr>
          <a:xfrm>
            <a:off x="378002" y="631680"/>
            <a:ext cx="8848152" cy="153796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2"/>
          <p:cNvSpPr>
            <a:spLocks noGrp="1"/>
          </p:cNvSpPr>
          <p:nvPr>
            <p:ph type="dt" sz="half" idx="10"/>
          </p:nvPr>
        </p:nvSpPr>
        <p:spPr>
          <a:xfrm>
            <a:off x="5471114" y="12183358"/>
            <a:ext cx="2240280" cy="262080"/>
          </a:xfrm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9151" y="12322329"/>
            <a:ext cx="279138" cy="123111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378002" y="2480311"/>
            <a:ext cx="8848152" cy="785890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2" name="Title 7"/>
          <p:cNvSpPr>
            <a:spLocks noGrp="1"/>
          </p:cNvSpPr>
          <p:nvPr>
            <p:ph type="title"/>
          </p:nvPr>
        </p:nvSpPr>
        <p:spPr>
          <a:xfrm>
            <a:off x="378002" y="631680"/>
            <a:ext cx="8848152" cy="153796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0556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000" y="631680"/>
            <a:ext cx="8848611" cy="153796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8004" y="2480312"/>
            <a:ext cx="4327587" cy="786172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98949" y="2480312"/>
            <a:ext cx="4327587" cy="786172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96885-B7FE-4F75-9FC4-7662EA55A076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8885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1815A-B20D-485D-A42D-61E71CBE0279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67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5471114" y="12183358"/>
            <a:ext cx="2240280" cy="262080"/>
          </a:xfrm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9151" y="12322329"/>
            <a:ext cx="279138" cy="123111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2186941"/>
            <a:ext cx="9601200" cy="8694420"/>
          </a:xfrm>
          <a:prstGeom prst="rect">
            <a:avLst/>
          </a:prstGeom>
          <a:solidFill>
            <a:srgbClr val="EEEEE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Title 7"/>
          <p:cNvSpPr>
            <a:spLocks noGrp="1"/>
          </p:cNvSpPr>
          <p:nvPr>
            <p:ph type="title"/>
          </p:nvPr>
        </p:nvSpPr>
        <p:spPr>
          <a:xfrm>
            <a:off x="378002" y="631680"/>
            <a:ext cx="8848152" cy="153796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00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6B0660-3EA3-468D-8610-343C1CF31075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C2A36-A804-4785-9EBD-34F1AFE6EEDF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223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2" y="2"/>
          <a:ext cx="166688" cy="296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AutoShape 19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66688" cy="2963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378002" y="2480311"/>
            <a:ext cx="8848152" cy="78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k</a:t>
            </a:r>
            <a:r>
              <a:rPr lang="en-GB" noProof="0" dirty="0" smtClean="0"/>
              <a:t> for at </a:t>
            </a:r>
            <a:r>
              <a:rPr lang="en-GB" noProof="0" dirty="0" err="1" smtClean="0"/>
              <a:t>redigere</a:t>
            </a:r>
            <a:r>
              <a:rPr lang="en-GB" noProof="0" dirty="0" smtClean="0"/>
              <a:t> </a:t>
            </a:r>
            <a:r>
              <a:rPr lang="en-GB" noProof="0" dirty="0" err="1" smtClean="0"/>
              <a:t>typografi</a:t>
            </a:r>
            <a:r>
              <a:rPr lang="en-GB" noProof="0" dirty="0" smtClean="0"/>
              <a:t> </a:t>
            </a:r>
            <a:r>
              <a:rPr lang="en-GB" noProof="0" dirty="0" err="1" smtClean="0"/>
              <a:t>i</a:t>
            </a:r>
            <a:r>
              <a:rPr lang="en-GB" noProof="0" dirty="0" smtClean="0"/>
              <a:t> </a:t>
            </a:r>
            <a:r>
              <a:rPr lang="en-GB" noProof="0" dirty="0" err="1" smtClean="0"/>
              <a:t>master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Andet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edj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Fjerd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emt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15"/>
            </p:custDataLst>
          </p:nvPr>
        </p:nvSpPr>
        <p:spPr bwMode="auto">
          <a:xfrm>
            <a:off x="5471114" y="12183358"/>
            <a:ext cx="2240280" cy="26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359151" y="12322329"/>
            <a:ext cx="27913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Rectangle 9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378002" y="631680"/>
            <a:ext cx="8848152" cy="1537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k</a:t>
            </a:r>
            <a:r>
              <a:rPr lang="en-GB" noProof="0" dirty="0" smtClean="0"/>
              <a:t> for at </a:t>
            </a:r>
            <a:r>
              <a:rPr lang="en-GB" noProof="0" dirty="0" err="1" smtClean="0"/>
              <a:t>redigere</a:t>
            </a:r>
            <a:r>
              <a:rPr lang="en-GB" noProof="0" dirty="0" smtClean="0"/>
              <a:t> </a:t>
            </a:r>
            <a:r>
              <a:rPr lang="en-GB" noProof="0" dirty="0" err="1" smtClean="0"/>
              <a:t>titeltypografi</a:t>
            </a:r>
            <a:r>
              <a:rPr lang="en-GB" noProof="0" dirty="0" smtClean="0"/>
              <a:t> </a:t>
            </a:r>
            <a:r>
              <a:rPr lang="en-GB" noProof="0" dirty="0" err="1" smtClean="0"/>
              <a:t>i</a:t>
            </a:r>
            <a:r>
              <a:rPr lang="en-GB" noProof="0" dirty="0" smtClean="0"/>
              <a:t> </a:t>
            </a:r>
            <a:r>
              <a:rPr lang="en-GB" noProof="0" dirty="0" err="1" smtClean="0"/>
              <a:t>masteren</a:t>
            </a:r>
            <a:endParaRPr lang="en-GB" noProof="0" dirty="0" smtClean="0"/>
          </a:p>
        </p:txBody>
      </p:sp>
      <p:pic>
        <p:nvPicPr>
          <p:cNvPr id="8" name="Billede 7" descr="DONG Energy CMYK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8005366" y="11652741"/>
            <a:ext cx="1221231" cy="752995"/>
          </a:xfrm>
          <a:prstGeom prst="rect">
            <a:avLst/>
          </a:prstGeom>
        </p:spPr>
      </p:pic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8529" y="12183360"/>
            <a:ext cx="4710462" cy="2620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62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82563" indent="-182563" algn="l" rtl="0" eaLnBrk="1" fontAlgn="base" hangingPunct="1">
        <a:spcBef>
          <a:spcPts val="300"/>
        </a:spcBef>
        <a:spcAft>
          <a:spcPct val="0"/>
        </a:spcAft>
        <a:buSzPct val="80000"/>
        <a:buFont typeface="Wingdings" pitchFamily="2" charset="2"/>
        <a:buChar char="§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4625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538163" indent="-177800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800">
          <a:solidFill>
            <a:schemeClr val="tx1"/>
          </a:solidFill>
          <a:latin typeface="+mn-lt"/>
        </a:defRPr>
      </a:lvl3pPr>
      <a:lvl4pPr marL="725488" indent="-185738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800">
          <a:solidFill>
            <a:schemeClr val="tx1"/>
          </a:solidFill>
          <a:latin typeface="+mn-lt"/>
        </a:defRPr>
      </a:lvl4pPr>
      <a:lvl5pPr marL="887413" indent="-160338" algn="l" rtl="0" eaLnBrk="1" fontAlgn="base" hangingPunct="1">
        <a:spcBef>
          <a:spcPts val="300"/>
        </a:spcBef>
        <a:spcAft>
          <a:spcPct val="0"/>
        </a:spcAft>
        <a:buSzPct val="80000"/>
        <a:buFont typeface="Arial" pitchFamily="34" charset="0"/>
        <a:buChar char="·"/>
        <a:defRPr sz="1800">
          <a:solidFill>
            <a:schemeClr val="tx1"/>
          </a:solidFill>
          <a:latin typeface="+mn-lt"/>
        </a:defRPr>
      </a:lvl5pPr>
      <a:lvl6pPr marL="13446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018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590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162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601200" cy="12404710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pic>
      <p:sp>
        <p:nvSpPr>
          <p:cNvPr id="2" name="Kombinationstegning 1"/>
          <p:cNvSpPr/>
          <p:nvPr/>
        </p:nvSpPr>
        <p:spPr bwMode="auto">
          <a:xfrm>
            <a:off x="1107296" y="438150"/>
            <a:ext cx="8227202" cy="11404119"/>
          </a:xfrm>
          <a:custGeom>
            <a:avLst/>
            <a:gdLst>
              <a:gd name="connsiteX0" fmla="*/ 38100 w 7543800"/>
              <a:gd name="connsiteY0" fmla="*/ 8362950 h 9315450"/>
              <a:gd name="connsiteX1" fmla="*/ 38100 w 7543800"/>
              <a:gd name="connsiteY1" fmla="*/ 8362950 h 9315450"/>
              <a:gd name="connsiteX2" fmla="*/ 0 w 7543800"/>
              <a:gd name="connsiteY2" fmla="*/ 7524750 h 9315450"/>
              <a:gd name="connsiteX3" fmla="*/ 933450 w 7543800"/>
              <a:gd name="connsiteY3" fmla="*/ 7562850 h 9315450"/>
              <a:gd name="connsiteX4" fmla="*/ 971550 w 7543800"/>
              <a:gd name="connsiteY4" fmla="*/ 6705600 h 9315450"/>
              <a:gd name="connsiteX5" fmla="*/ 552450 w 7543800"/>
              <a:gd name="connsiteY5" fmla="*/ 6705600 h 9315450"/>
              <a:gd name="connsiteX6" fmla="*/ 571500 w 7543800"/>
              <a:gd name="connsiteY6" fmla="*/ 6496050 h 9315450"/>
              <a:gd name="connsiteX7" fmla="*/ 1257300 w 7543800"/>
              <a:gd name="connsiteY7" fmla="*/ 6572250 h 9315450"/>
              <a:gd name="connsiteX8" fmla="*/ 2628900 w 7543800"/>
              <a:gd name="connsiteY8" fmla="*/ 6629400 h 9315450"/>
              <a:gd name="connsiteX9" fmla="*/ 2590800 w 7543800"/>
              <a:gd name="connsiteY9" fmla="*/ 7448550 h 9315450"/>
              <a:gd name="connsiteX10" fmla="*/ 5295900 w 7543800"/>
              <a:gd name="connsiteY10" fmla="*/ 7620000 h 9315450"/>
              <a:gd name="connsiteX11" fmla="*/ 5867400 w 7543800"/>
              <a:gd name="connsiteY11" fmla="*/ 7181850 h 9315450"/>
              <a:gd name="connsiteX12" fmla="*/ 5886450 w 7543800"/>
              <a:gd name="connsiteY12" fmla="*/ 6915150 h 9315450"/>
              <a:gd name="connsiteX13" fmla="*/ 5962650 w 7543800"/>
              <a:gd name="connsiteY13" fmla="*/ 6686550 h 9315450"/>
              <a:gd name="connsiteX14" fmla="*/ 6057900 w 7543800"/>
              <a:gd name="connsiteY14" fmla="*/ 6515100 h 9315450"/>
              <a:gd name="connsiteX15" fmla="*/ 6076950 w 7543800"/>
              <a:gd name="connsiteY15" fmla="*/ 6172200 h 9315450"/>
              <a:gd name="connsiteX16" fmla="*/ 6057900 w 7543800"/>
              <a:gd name="connsiteY16" fmla="*/ 5695950 h 9315450"/>
              <a:gd name="connsiteX17" fmla="*/ 6096000 w 7543800"/>
              <a:gd name="connsiteY17" fmla="*/ 5391150 h 9315450"/>
              <a:gd name="connsiteX18" fmla="*/ 6267450 w 7543800"/>
              <a:gd name="connsiteY18" fmla="*/ 5219700 h 9315450"/>
              <a:gd name="connsiteX19" fmla="*/ 6457950 w 7543800"/>
              <a:gd name="connsiteY19" fmla="*/ 5067300 h 9315450"/>
              <a:gd name="connsiteX20" fmla="*/ 6553200 w 7543800"/>
              <a:gd name="connsiteY20" fmla="*/ 4933950 h 9315450"/>
              <a:gd name="connsiteX21" fmla="*/ 6496050 w 7543800"/>
              <a:gd name="connsiteY21" fmla="*/ 4781550 h 9315450"/>
              <a:gd name="connsiteX22" fmla="*/ 6343650 w 7543800"/>
              <a:gd name="connsiteY22" fmla="*/ 4648200 h 9315450"/>
              <a:gd name="connsiteX23" fmla="*/ 6343650 w 7543800"/>
              <a:gd name="connsiteY23" fmla="*/ 4648200 h 9315450"/>
              <a:gd name="connsiteX24" fmla="*/ 6343650 w 7543800"/>
              <a:gd name="connsiteY24" fmla="*/ 4210050 h 9315450"/>
              <a:gd name="connsiteX25" fmla="*/ 6610350 w 7543800"/>
              <a:gd name="connsiteY25" fmla="*/ 4210050 h 9315450"/>
              <a:gd name="connsiteX26" fmla="*/ 6686550 w 7543800"/>
              <a:gd name="connsiteY26" fmla="*/ 4438650 h 9315450"/>
              <a:gd name="connsiteX27" fmla="*/ 6724650 w 7543800"/>
              <a:gd name="connsiteY27" fmla="*/ 4629150 h 9315450"/>
              <a:gd name="connsiteX28" fmla="*/ 6781800 w 7543800"/>
              <a:gd name="connsiteY28" fmla="*/ 4895850 h 9315450"/>
              <a:gd name="connsiteX29" fmla="*/ 6724650 w 7543800"/>
              <a:gd name="connsiteY29" fmla="*/ 5067300 h 9315450"/>
              <a:gd name="connsiteX30" fmla="*/ 6991350 w 7543800"/>
              <a:gd name="connsiteY30" fmla="*/ 5314950 h 9315450"/>
              <a:gd name="connsiteX31" fmla="*/ 7543800 w 7543800"/>
              <a:gd name="connsiteY31" fmla="*/ 5467350 h 9315450"/>
              <a:gd name="connsiteX32" fmla="*/ 7258050 w 7543800"/>
              <a:gd name="connsiteY32" fmla="*/ 19050 h 9315450"/>
              <a:gd name="connsiteX33" fmla="*/ 6610350 w 7543800"/>
              <a:gd name="connsiteY33" fmla="*/ 0 h 9315450"/>
              <a:gd name="connsiteX34" fmla="*/ 6172200 w 7543800"/>
              <a:gd name="connsiteY34" fmla="*/ 0 h 9315450"/>
              <a:gd name="connsiteX35" fmla="*/ 5143500 w 7543800"/>
              <a:gd name="connsiteY35" fmla="*/ 190500 h 9315450"/>
              <a:gd name="connsiteX36" fmla="*/ 4438650 w 7543800"/>
              <a:gd name="connsiteY36" fmla="*/ 209550 h 9315450"/>
              <a:gd name="connsiteX37" fmla="*/ 4476750 w 7543800"/>
              <a:gd name="connsiteY37" fmla="*/ 266700 h 9315450"/>
              <a:gd name="connsiteX38" fmla="*/ 4286250 w 7543800"/>
              <a:gd name="connsiteY38" fmla="*/ 285750 h 9315450"/>
              <a:gd name="connsiteX39" fmla="*/ 4305300 w 7543800"/>
              <a:gd name="connsiteY39" fmla="*/ 400050 h 9315450"/>
              <a:gd name="connsiteX40" fmla="*/ 5238750 w 7543800"/>
              <a:gd name="connsiteY40" fmla="*/ 381000 h 9315450"/>
              <a:gd name="connsiteX41" fmla="*/ 5448300 w 7543800"/>
              <a:gd name="connsiteY41" fmla="*/ 457200 h 9315450"/>
              <a:gd name="connsiteX42" fmla="*/ 5638800 w 7543800"/>
              <a:gd name="connsiteY42" fmla="*/ 876300 h 9315450"/>
              <a:gd name="connsiteX43" fmla="*/ 5810250 w 7543800"/>
              <a:gd name="connsiteY43" fmla="*/ 1581150 h 9315450"/>
              <a:gd name="connsiteX44" fmla="*/ 5924550 w 7543800"/>
              <a:gd name="connsiteY44" fmla="*/ 1733550 h 9315450"/>
              <a:gd name="connsiteX45" fmla="*/ 6076950 w 7543800"/>
              <a:gd name="connsiteY45" fmla="*/ 2019300 h 9315450"/>
              <a:gd name="connsiteX46" fmla="*/ 6324600 w 7543800"/>
              <a:gd name="connsiteY46" fmla="*/ 2057400 h 9315450"/>
              <a:gd name="connsiteX47" fmla="*/ 6267450 w 7543800"/>
              <a:gd name="connsiteY47" fmla="*/ 2209800 h 9315450"/>
              <a:gd name="connsiteX48" fmla="*/ 6267450 w 7543800"/>
              <a:gd name="connsiteY48" fmla="*/ 2209800 h 9315450"/>
              <a:gd name="connsiteX49" fmla="*/ 6362700 w 7543800"/>
              <a:gd name="connsiteY49" fmla="*/ 2495550 h 9315450"/>
              <a:gd name="connsiteX50" fmla="*/ 6477000 w 7543800"/>
              <a:gd name="connsiteY50" fmla="*/ 2609850 h 9315450"/>
              <a:gd name="connsiteX51" fmla="*/ 6610350 w 7543800"/>
              <a:gd name="connsiteY51" fmla="*/ 2762250 h 9315450"/>
              <a:gd name="connsiteX52" fmla="*/ 6667500 w 7543800"/>
              <a:gd name="connsiteY52" fmla="*/ 2914650 h 9315450"/>
              <a:gd name="connsiteX53" fmla="*/ 6610350 w 7543800"/>
              <a:gd name="connsiteY53" fmla="*/ 3124200 h 9315450"/>
              <a:gd name="connsiteX54" fmla="*/ 6381750 w 7543800"/>
              <a:gd name="connsiteY54" fmla="*/ 3333750 h 9315450"/>
              <a:gd name="connsiteX55" fmla="*/ 6286500 w 7543800"/>
              <a:gd name="connsiteY55" fmla="*/ 3505200 h 9315450"/>
              <a:gd name="connsiteX56" fmla="*/ 6305550 w 7543800"/>
              <a:gd name="connsiteY56" fmla="*/ 3676650 h 9315450"/>
              <a:gd name="connsiteX57" fmla="*/ 6477000 w 7543800"/>
              <a:gd name="connsiteY57" fmla="*/ 3867150 h 9315450"/>
              <a:gd name="connsiteX58" fmla="*/ 6572250 w 7543800"/>
              <a:gd name="connsiteY58" fmla="*/ 3981450 h 9315450"/>
              <a:gd name="connsiteX59" fmla="*/ 6591300 w 7543800"/>
              <a:gd name="connsiteY59" fmla="*/ 4191000 h 9315450"/>
              <a:gd name="connsiteX60" fmla="*/ 6343650 w 7543800"/>
              <a:gd name="connsiteY60" fmla="*/ 4210050 h 9315450"/>
              <a:gd name="connsiteX61" fmla="*/ 6305550 w 7543800"/>
              <a:gd name="connsiteY61" fmla="*/ 4629150 h 9315450"/>
              <a:gd name="connsiteX62" fmla="*/ 6305550 w 7543800"/>
              <a:gd name="connsiteY62" fmla="*/ 4629150 h 9315450"/>
              <a:gd name="connsiteX63" fmla="*/ 6515100 w 7543800"/>
              <a:gd name="connsiteY63" fmla="*/ 4857750 h 9315450"/>
              <a:gd name="connsiteX64" fmla="*/ 6553200 w 7543800"/>
              <a:gd name="connsiteY64" fmla="*/ 4933950 h 9315450"/>
              <a:gd name="connsiteX65" fmla="*/ 6419850 w 7543800"/>
              <a:gd name="connsiteY65" fmla="*/ 5124450 h 9315450"/>
              <a:gd name="connsiteX66" fmla="*/ 6191250 w 7543800"/>
              <a:gd name="connsiteY66" fmla="*/ 5257800 h 9315450"/>
              <a:gd name="connsiteX67" fmla="*/ 6096000 w 7543800"/>
              <a:gd name="connsiteY67" fmla="*/ 5391150 h 9315450"/>
              <a:gd name="connsiteX68" fmla="*/ 6096000 w 7543800"/>
              <a:gd name="connsiteY68" fmla="*/ 6172200 h 9315450"/>
              <a:gd name="connsiteX69" fmla="*/ 6096000 w 7543800"/>
              <a:gd name="connsiteY69" fmla="*/ 6343650 h 9315450"/>
              <a:gd name="connsiteX70" fmla="*/ 6019800 w 7543800"/>
              <a:gd name="connsiteY70" fmla="*/ 6572250 h 9315450"/>
              <a:gd name="connsiteX71" fmla="*/ 5924550 w 7543800"/>
              <a:gd name="connsiteY71" fmla="*/ 6819900 h 9315450"/>
              <a:gd name="connsiteX72" fmla="*/ 5867400 w 7543800"/>
              <a:gd name="connsiteY72" fmla="*/ 7048500 h 9315450"/>
              <a:gd name="connsiteX73" fmla="*/ 5867400 w 7543800"/>
              <a:gd name="connsiteY73" fmla="*/ 7296150 h 9315450"/>
              <a:gd name="connsiteX74" fmla="*/ 5810250 w 7543800"/>
              <a:gd name="connsiteY74" fmla="*/ 7962900 h 9315450"/>
              <a:gd name="connsiteX75" fmla="*/ 5524500 w 7543800"/>
              <a:gd name="connsiteY75" fmla="*/ 8477250 h 9315450"/>
              <a:gd name="connsiteX76" fmla="*/ 5162550 w 7543800"/>
              <a:gd name="connsiteY76" fmla="*/ 8953500 h 9315450"/>
              <a:gd name="connsiteX77" fmla="*/ 4972050 w 7543800"/>
              <a:gd name="connsiteY77" fmla="*/ 9315450 h 9315450"/>
              <a:gd name="connsiteX78" fmla="*/ 3028950 w 7543800"/>
              <a:gd name="connsiteY78" fmla="*/ 8096250 h 9315450"/>
              <a:gd name="connsiteX0" fmla="*/ 38100 w 7543800"/>
              <a:gd name="connsiteY0" fmla="*/ 8362950 h 9886950"/>
              <a:gd name="connsiteX1" fmla="*/ 38100 w 7543800"/>
              <a:gd name="connsiteY1" fmla="*/ 8362950 h 9886950"/>
              <a:gd name="connsiteX2" fmla="*/ 0 w 7543800"/>
              <a:gd name="connsiteY2" fmla="*/ 7524750 h 9886950"/>
              <a:gd name="connsiteX3" fmla="*/ 933450 w 7543800"/>
              <a:gd name="connsiteY3" fmla="*/ 7562850 h 9886950"/>
              <a:gd name="connsiteX4" fmla="*/ 971550 w 7543800"/>
              <a:gd name="connsiteY4" fmla="*/ 6705600 h 9886950"/>
              <a:gd name="connsiteX5" fmla="*/ 552450 w 7543800"/>
              <a:gd name="connsiteY5" fmla="*/ 6705600 h 9886950"/>
              <a:gd name="connsiteX6" fmla="*/ 571500 w 7543800"/>
              <a:gd name="connsiteY6" fmla="*/ 6496050 h 9886950"/>
              <a:gd name="connsiteX7" fmla="*/ 1257300 w 7543800"/>
              <a:gd name="connsiteY7" fmla="*/ 6572250 h 9886950"/>
              <a:gd name="connsiteX8" fmla="*/ 2628900 w 7543800"/>
              <a:gd name="connsiteY8" fmla="*/ 6629400 h 9886950"/>
              <a:gd name="connsiteX9" fmla="*/ 2590800 w 7543800"/>
              <a:gd name="connsiteY9" fmla="*/ 7448550 h 9886950"/>
              <a:gd name="connsiteX10" fmla="*/ 5295900 w 7543800"/>
              <a:gd name="connsiteY10" fmla="*/ 7620000 h 9886950"/>
              <a:gd name="connsiteX11" fmla="*/ 5867400 w 7543800"/>
              <a:gd name="connsiteY11" fmla="*/ 7181850 h 9886950"/>
              <a:gd name="connsiteX12" fmla="*/ 5886450 w 7543800"/>
              <a:gd name="connsiteY12" fmla="*/ 6915150 h 9886950"/>
              <a:gd name="connsiteX13" fmla="*/ 5962650 w 7543800"/>
              <a:gd name="connsiteY13" fmla="*/ 6686550 h 9886950"/>
              <a:gd name="connsiteX14" fmla="*/ 6057900 w 7543800"/>
              <a:gd name="connsiteY14" fmla="*/ 6515100 h 9886950"/>
              <a:gd name="connsiteX15" fmla="*/ 6076950 w 7543800"/>
              <a:gd name="connsiteY15" fmla="*/ 6172200 h 9886950"/>
              <a:gd name="connsiteX16" fmla="*/ 6057900 w 7543800"/>
              <a:gd name="connsiteY16" fmla="*/ 5695950 h 9886950"/>
              <a:gd name="connsiteX17" fmla="*/ 6096000 w 7543800"/>
              <a:gd name="connsiteY17" fmla="*/ 5391150 h 9886950"/>
              <a:gd name="connsiteX18" fmla="*/ 6267450 w 7543800"/>
              <a:gd name="connsiteY18" fmla="*/ 5219700 h 9886950"/>
              <a:gd name="connsiteX19" fmla="*/ 6457950 w 7543800"/>
              <a:gd name="connsiteY19" fmla="*/ 5067300 h 9886950"/>
              <a:gd name="connsiteX20" fmla="*/ 6553200 w 7543800"/>
              <a:gd name="connsiteY20" fmla="*/ 4933950 h 9886950"/>
              <a:gd name="connsiteX21" fmla="*/ 6496050 w 7543800"/>
              <a:gd name="connsiteY21" fmla="*/ 4781550 h 9886950"/>
              <a:gd name="connsiteX22" fmla="*/ 6343650 w 7543800"/>
              <a:gd name="connsiteY22" fmla="*/ 4648200 h 9886950"/>
              <a:gd name="connsiteX23" fmla="*/ 6343650 w 7543800"/>
              <a:gd name="connsiteY23" fmla="*/ 4648200 h 9886950"/>
              <a:gd name="connsiteX24" fmla="*/ 6343650 w 7543800"/>
              <a:gd name="connsiteY24" fmla="*/ 4210050 h 9886950"/>
              <a:gd name="connsiteX25" fmla="*/ 6610350 w 7543800"/>
              <a:gd name="connsiteY25" fmla="*/ 4210050 h 9886950"/>
              <a:gd name="connsiteX26" fmla="*/ 6686550 w 7543800"/>
              <a:gd name="connsiteY26" fmla="*/ 4438650 h 9886950"/>
              <a:gd name="connsiteX27" fmla="*/ 6724650 w 7543800"/>
              <a:gd name="connsiteY27" fmla="*/ 4629150 h 9886950"/>
              <a:gd name="connsiteX28" fmla="*/ 6781800 w 7543800"/>
              <a:gd name="connsiteY28" fmla="*/ 4895850 h 9886950"/>
              <a:gd name="connsiteX29" fmla="*/ 6724650 w 7543800"/>
              <a:gd name="connsiteY29" fmla="*/ 5067300 h 9886950"/>
              <a:gd name="connsiteX30" fmla="*/ 6991350 w 7543800"/>
              <a:gd name="connsiteY30" fmla="*/ 5314950 h 9886950"/>
              <a:gd name="connsiteX31" fmla="*/ 7543800 w 7543800"/>
              <a:gd name="connsiteY31" fmla="*/ 5467350 h 9886950"/>
              <a:gd name="connsiteX32" fmla="*/ 7258050 w 7543800"/>
              <a:gd name="connsiteY32" fmla="*/ 19050 h 9886950"/>
              <a:gd name="connsiteX33" fmla="*/ 6610350 w 7543800"/>
              <a:gd name="connsiteY33" fmla="*/ 0 h 9886950"/>
              <a:gd name="connsiteX34" fmla="*/ 6172200 w 7543800"/>
              <a:gd name="connsiteY34" fmla="*/ 0 h 9886950"/>
              <a:gd name="connsiteX35" fmla="*/ 5143500 w 7543800"/>
              <a:gd name="connsiteY35" fmla="*/ 190500 h 9886950"/>
              <a:gd name="connsiteX36" fmla="*/ 4438650 w 7543800"/>
              <a:gd name="connsiteY36" fmla="*/ 209550 h 9886950"/>
              <a:gd name="connsiteX37" fmla="*/ 4476750 w 7543800"/>
              <a:gd name="connsiteY37" fmla="*/ 266700 h 9886950"/>
              <a:gd name="connsiteX38" fmla="*/ 4286250 w 7543800"/>
              <a:gd name="connsiteY38" fmla="*/ 285750 h 9886950"/>
              <a:gd name="connsiteX39" fmla="*/ 4305300 w 7543800"/>
              <a:gd name="connsiteY39" fmla="*/ 400050 h 9886950"/>
              <a:gd name="connsiteX40" fmla="*/ 5238750 w 7543800"/>
              <a:gd name="connsiteY40" fmla="*/ 381000 h 9886950"/>
              <a:gd name="connsiteX41" fmla="*/ 5448300 w 7543800"/>
              <a:gd name="connsiteY41" fmla="*/ 457200 h 9886950"/>
              <a:gd name="connsiteX42" fmla="*/ 5638800 w 7543800"/>
              <a:gd name="connsiteY42" fmla="*/ 876300 h 9886950"/>
              <a:gd name="connsiteX43" fmla="*/ 5810250 w 7543800"/>
              <a:gd name="connsiteY43" fmla="*/ 1581150 h 9886950"/>
              <a:gd name="connsiteX44" fmla="*/ 5924550 w 7543800"/>
              <a:gd name="connsiteY44" fmla="*/ 1733550 h 9886950"/>
              <a:gd name="connsiteX45" fmla="*/ 6076950 w 7543800"/>
              <a:gd name="connsiteY45" fmla="*/ 2019300 h 9886950"/>
              <a:gd name="connsiteX46" fmla="*/ 6324600 w 7543800"/>
              <a:gd name="connsiteY46" fmla="*/ 2057400 h 9886950"/>
              <a:gd name="connsiteX47" fmla="*/ 6267450 w 7543800"/>
              <a:gd name="connsiteY47" fmla="*/ 2209800 h 9886950"/>
              <a:gd name="connsiteX48" fmla="*/ 6267450 w 7543800"/>
              <a:gd name="connsiteY48" fmla="*/ 2209800 h 9886950"/>
              <a:gd name="connsiteX49" fmla="*/ 6362700 w 7543800"/>
              <a:gd name="connsiteY49" fmla="*/ 2495550 h 9886950"/>
              <a:gd name="connsiteX50" fmla="*/ 6477000 w 7543800"/>
              <a:gd name="connsiteY50" fmla="*/ 2609850 h 9886950"/>
              <a:gd name="connsiteX51" fmla="*/ 6610350 w 7543800"/>
              <a:gd name="connsiteY51" fmla="*/ 2762250 h 9886950"/>
              <a:gd name="connsiteX52" fmla="*/ 6667500 w 7543800"/>
              <a:gd name="connsiteY52" fmla="*/ 2914650 h 9886950"/>
              <a:gd name="connsiteX53" fmla="*/ 6610350 w 7543800"/>
              <a:gd name="connsiteY53" fmla="*/ 3124200 h 9886950"/>
              <a:gd name="connsiteX54" fmla="*/ 6381750 w 7543800"/>
              <a:gd name="connsiteY54" fmla="*/ 3333750 h 9886950"/>
              <a:gd name="connsiteX55" fmla="*/ 6286500 w 7543800"/>
              <a:gd name="connsiteY55" fmla="*/ 3505200 h 9886950"/>
              <a:gd name="connsiteX56" fmla="*/ 6305550 w 7543800"/>
              <a:gd name="connsiteY56" fmla="*/ 3676650 h 9886950"/>
              <a:gd name="connsiteX57" fmla="*/ 6477000 w 7543800"/>
              <a:gd name="connsiteY57" fmla="*/ 3867150 h 9886950"/>
              <a:gd name="connsiteX58" fmla="*/ 6572250 w 7543800"/>
              <a:gd name="connsiteY58" fmla="*/ 3981450 h 9886950"/>
              <a:gd name="connsiteX59" fmla="*/ 6591300 w 7543800"/>
              <a:gd name="connsiteY59" fmla="*/ 4191000 h 9886950"/>
              <a:gd name="connsiteX60" fmla="*/ 6343650 w 7543800"/>
              <a:gd name="connsiteY60" fmla="*/ 4210050 h 9886950"/>
              <a:gd name="connsiteX61" fmla="*/ 6305550 w 7543800"/>
              <a:gd name="connsiteY61" fmla="*/ 4629150 h 9886950"/>
              <a:gd name="connsiteX62" fmla="*/ 6305550 w 7543800"/>
              <a:gd name="connsiteY62" fmla="*/ 4629150 h 9886950"/>
              <a:gd name="connsiteX63" fmla="*/ 6515100 w 7543800"/>
              <a:gd name="connsiteY63" fmla="*/ 4857750 h 9886950"/>
              <a:gd name="connsiteX64" fmla="*/ 6553200 w 7543800"/>
              <a:gd name="connsiteY64" fmla="*/ 4933950 h 9886950"/>
              <a:gd name="connsiteX65" fmla="*/ 6419850 w 7543800"/>
              <a:gd name="connsiteY65" fmla="*/ 5124450 h 9886950"/>
              <a:gd name="connsiteX66" fmla="*/ 6191250 w 7543800"/>
              <a:gd name="connsiteY66" fmla="*/ 5257800 h 9886950"/>
              <a:gd name="connsiteX67" fmla="*/ 6096000 w 7543800"/>
              <a:gd name="connsiteY67" fmla="*/ 5391150 h 9886950"/>
              <a:gd name="connsiteX68" fmla="*/ 6096000 w 7543800"/>
              <a:gd name="connsiteY68" fmla="*/ 6172200 h 9886950"/>
              <a:gd name="connsiteX69" fmla="*/ 6096000 w 7543800"/>
              <a:gd name="connsiteY69" fmla="*/ 6343650 h 9886950"/>
              <a:gd name="connsiteX70" fmla="*/ 6019800 w 7543800"/>
              <a:gd name="connsiteY70" fmla="*/ 6572250 h 9886950"/>
              <a:gd name="connsiteX71" fmla="*/ 5924550 w 7543800"/>
              <a:gd name="connsiteY71" fmla="*/ 6819900 h 9886950"/>
              <a:gd name="connsiteX72" fmla="*/ 5867400 w 7543800"/>
              <a:gd name="connsiteY72" fmla="*/ 7048500 h 9886950"/>
              <a:gd name="connsiteX73" fmla="*/ 5867400 w 7543800"/>
              <a:gd name="connsiteY73" fmla="*/ 7296150 h 9886950"/>
              <a:gd name="connsiteX74" fmla="*/ 5810250 w 7543800"/>
              <a:gd name="connsiteY74" fmla="*/ 7962900 h 9886950"/>
              <a:gd name="connsiteX75" fmla="*/ 5524500 w 7543800"/>
              <a:gd name="connsiteY75" fmla="*/ 8477250 h 9886950"/>
              <a:gd name="connsiteX76" fmla="*/ 5162550 w 7543800"/>
              <a:gd name="connsiteY76" fmla="*/ 8953500 h 9886950"/>
              <a:gd name="connsiteX77" fmla="*/ 4972050 w 7543800"/>
              <a:gd name="connsiteY77" fmla="*/ 9315450 h 9886950"/>
              <a:gd name="connsiteX78" fmla="*/ 4667250 w 7543800"/>
              <a:gd name="connsiteY78" fmla="*/ 9886950 h 9886950"/>
              <a:gd name="connsiteX0" fmla="*/ 38100 w 7543800"/>
              <a:gd name="connsiteY0" fmla="*/ 8362950 h 9929283"/>
              <a:gd name="connsiteX1" fmla="*/ 38100 w 7543800"/>
              <a:gd name="connsiteY1" fmla="*/ 8362950 h 9929283"/>
              <a:gd name="connsiteX2" fmla="*/ 0 w 7543800"/>
              <a:gd name="connsiteY2" fmla="*/ 7524750 h 9929283"/>
              <a:gd name="connsiteX3" fmla="*/ 933450 w 7543800"/>
              <a:gd name="connsiteY3" fmla="*/ 7562850 h 9929283"/>
              <a:gd name="connsiteX4" fmla="*/ 971550 w 7543800"/>
              <a:gd name="connsiteY4" fmla="*/ 6705600 h 9929283"/>
              <a:gd name="connsiteX5" fmla="*/ 552450 w 7543800"/>
              <a:gd name="connsiteY5" fmla="*/ 6705600 h 9929283"/>
              <a:gd name="connsiteX6" fmla="*/ 571500 w 7543800"/>
              <a:gd name="connsiteY6" fmla="*/ 6496050 h 9929283"/>
              <a:gd name="connsiteX7" fmla="*/ 1257300 w 7543800"/>
              <a:gd name="connsiteY7" fmla="*/ 6572250 h 9929283"/>
              <a:gd name="connsiteX8" fmla="*/ 2628900 w 7543800"/>
              <a:gd name="connsiteY8" fmla="*/ 6629400 h 9929283"/>
              <a:gd name="connsiteX9" fmla="*/ 2590800 w 7543800"/>
              <a:gd name="connsiteY9" fmla="*/ 7448550 h 9929283"/>
              <a:gd name="connsiteX10" fmla="*/ 5295900 w 7543800"/>
              <a:gd name="connsiteY10" fmla="*/ 7620000 h 9929283"/>
              <a:gd name="connsiteX11" fmla="*/ 5867400 w 7543800"/>
              <a:gd name="connsiteY11" fmla="*/ 7181850 h 9929283"/>
              <a:gd name="connsiteX12" fmla="*/ 5886450 w 7543800"/>
              <a:gd name="connsiteY12" fmla="*/ 6915150 h 9929283"/>
              <a:gd name="connsiteX13" fmla="*/ 5962650 w 7543800"/>
              <a:gd name="connsiteY13" fmla="*/ 6686550 h 9929283"/>
              <a:gd name="connsiteX14" fmla="*/ 6057900 w 7543800"/>
              <a:gd name="connsiteY14" fmla="*/ 6515100 h 9929283"/>
              <a:gd name="connsiteX15" fmla="*/ 6076950 w 7543800"/>
              <a:gd name="connsiteY15" fmla="*/ 6172200 h 9929283"/>
              <a:gd name="connsiteX16" fmla="*/ 6057900 w 7543800"/>
              <a:gd name="connsiteY16" fmla="*/ 5695950 h 9929283"/>
              <a:gd name="connsiteX17" fmla="*/ 6096000 w 7543800"/>
              <a:gd name="connsiteY17" fmla="*/ 5391150 h 9929283"/>
              <a:gd name="connsiteX18" fmla="*/ 6267450 w 7543800"/>
              <a:gd name="connsiteY18" fmla="*/ 5219700 h 9929283"/>
              <a:gd name="connsiteX19" fmla="*/ 6457950 w 7543800"/>
              <a:gd name="connsiteY19" fmla="*/ 5067300 h 9929283"/>
              <a:gd name="connsiteX20" fmla="*/ 6553200 w 7543800"/>
              <a:gd name="connsiteY20" fmla="*/ 4933950 h 9929283"/>
              <a:gd name="connsiteX21" fmla="*/ 6496050 w 7543800"/>
              <a:gd name="connsiteY21" fmla="*/ 4781550 h 9929283"/>
              <a:gd name="connsiteX22" fmla="*/ 6343650 w 7543800"/>
              <a:gd name="connsiteY22" fmla="*/ 4648200 h 9929283"/>
              <a:gd name="connsiteX23" fmla="*/ 6343650 w 7543800"/>
              <a:gd name="connsiteY23" fmla="*/ 4648200 h 9929283"/>
              <a:gd name="connsiteX24" fmla="*/ 6343650 w 7543800"/>
              <a:gd name="connsiteY24" fmla="*/ 4210050 h 9929283"/>
              <a:gd name="connsiteX25" fmla="*/ 6610350 w 7543800"/>
              <a:gd name="connsiteY25" fmla="*/ 4210050 h 9929283"/>
              <a:gd name="connsiteX26" fmla="*/ 6686550 w 7543800"/>
              <a:gd name="connsiteY26" fmla="*/ 4438650 h 9929283"/>
              <a:gd name="connsiteX27" fmla="*/ 6724650 w 7543800"/>
              <a:gd name="connsiteY27" fmla="*/ 4629150 h 9929283"/>
              <a:gd name="connsiteX28" fmla="*/ 6781800 w 7543800"/>
              <a:gd name="connsiteY28" fmla="*/ 4895850 h 9929283"/>
              <a:gd name="connsiteX29" fmla="*/ 6724650 w 7543800"/>
              <a:gd name="connsiteY29" fmla="*/ 5067300 h 9929283"/>
              <a:gd name="connsiteX30" fmla="*/ 6991350 w 7543800"/>
              <a:gd name="connsiteY30" fmla="*/ 5314950 h 9929283"/>
              <a:gd name="connsiteX31" fmla="*/ 7543800 w 7543800"/>
              <a:gd name="connsiteY31" fmla="*/ 5467350 h 9929283"/>
              <a:gd name="connsiteX32" fmla="*/ 7258050 w 7543800"/>
              <a:gd name="connsiteY32" fmla="*/ 19050 h 9929283"/>
              <a:gd name="connsiteX33" fmla="*/ 6610350 w 7543800"/>
              <a:gd name="connsiteY33" fmla="*/ 0 h 9929283"/>
              <a:gd name="connsiteX34" fmla="*/ 6172200 w 7543800"/>
              <a:gd name="connsiteY34" fmla="*/ 0 h 9929283"/>
              <a:gd name="connsiteX35" fmla="*/ 5143500 w 7543800"/>
              <a:gd name="connsiteY35" fmla="*/ 190500 h 9929283"/>
              <a:gd name="connsiteX36" fmla="*/ 4438650 w 7543800"/>
              <a:gd name="connsiteY36" fmla="*/ 209550 h 9929283"/>
              <a:gd name="connsiteX37" fmla="*/ 4476750 w 7543800"/>
              <a:gd name="connsiteY37" fmla="*/ 266700 h 9929283"/>
              <a:gd name="connsiteX38" fmla="*/ 4286250 w 7543800"/>
              <a:gd name="connsiteY38" fmla="*/ 285750 h 9929283"/>
              <a:gd name="connsiteX39" fmla="*/ 4305300 w 7543800"/>
              <a:gd name="connsiteY39" fmla="*/ 400050 h 9929283"/>
              <a:gd name="connsiteX40" fmla="*/ 5238750 w 7543800"/>
              <a:gd name="connsiteY40" fmla="*/ 381000 h 9929283"/>
              <a:gd name="connsiteX41" fmla="*/ 5448300 w 7543800"/>
              <a:gd name="connsiteY41" fmla="*/ 457200 h 9929283"/>
              <a:gd name="connsiteX42" fmla="*/ 5638800 w 7543800"/>
              <a:gd name="connsiteY42" fmla="*/ 876300 h 9929283"/>
              <a:gd name="connsiteX43" fmla="*/ 5810250 w 7543800"/>
              <a:gd name="connsiteY43" fmla="*/ 1581150 h 9929283"/>
              <a:gd name="connsiteX44" fmla="*/ 5924550 w 7543800"/>
              <a:gd name="connsiteY44" fmla="*/ 1733550 h 9929283"/>
              <a:gd name="connsiteX45" fmla="*/ 6076950 w 7543800"/>
              <a:gd name="connsiteY45" fmla="*/ 2019300 h 9929283"/>
              <a:gd name="connsiteX46" fmla="*/ 6324600 w 7543800"/>
              <a:gd name="connsiteY46" fmla="*/ 2057400 h 9929283"/>
              <a:gd name="connsiteX47" fmla="*/ 6267450 w 7543800"/>
              <a:gd name="connsiteY47" fmla="*/ 2209800 h 9929283"/>
              <a:gd name="connsiteX48" fmla="*/ 6267450 w 7543800"/>
              <a:gd name="connsiteY48" fmla="*/ 2209800 h 9929283"/>
              <a:gd name="connsiteX49" fmla="*/ 6362700 w 7543800"/>
              <a:gd name="connsiteY49" fmla="*/ 2495550 h 9929283"/>
              <a:gd name="connsiteX50" fmla="*/ 6477000 w 7543800"/>
              <a:gd name="connsiteY50" fmla="*/ 2609850 h 9929283"/>
              <a:gd name="connsiteX51" fmla="*/ 6610350 w 7543800"/>
              <a:gd name="connsiteY51" fmla="*/ 2762250 h 9929283"/>
              <a:gd name="connsiteX52" fmla="*/ 6667500 w 7543800"/>
              <a:gd name="connsiteY52" fmla="*/ 2914650 h 9929283"/>
              <a:gd name="connsiteX53" fmla="*/ 6610350 w 7543800"/>
              <a:gd name="connsiteY53" fmla="*/ 3124200 h 9929283"/>
              <a:gd name="connsiteX54" fmla="*/ 6381750 w 7543800"/>
              <a:gd name="connsiteY54" fmla="*/ 3333750 h 9929283"/>
              <a:gd name="connsiteX55" fmla="*/ 6286500 w 7543800"/>
              <a:gd name="connsiteY55" fmla="*/ 3505200 h 9929283"/>
              <a:gd name="connsiteX56" fmla="*/ 6305550 w 7543800"/>
              <a:gd name="connsiteY56" fmla="*/ 3676650 h 9929283"/>
              <a:gd name="connsiteX57" fmla="*/ 6477000 w 7543800"/>
              <a:gd name="connsiteY57" fmla="*/ 3867150 h 9929283"/>
              <a:gd name="connsiteX58" fmla="*/ 6572250 w 7543800"/>
              <a:gd name="connsiteY58" fmla="*/ 3981450 h 9929283"/>
              <a:gd name="connsiteX59" fmla="*/ 6591300 w 7543800"/>
              <a:gd name="connsiteY59" fmla="*/ 4191000 h 9929283"/>
              <a:gd name="connsiteX60" fmla="*/ 6343650 w 7543800"/>
              <a:gd name="connsiteY60" fmla="*/ 4210050 h 9929283"/>
              <a:gd name="connsiteX61" fmla="*/ 6305550 w 7543800"/>
              <a:gd name="connsiteY61" fmla="*/ 4629150 h 9929283"/>
              <a:gd name="connsiteX62" fmla="*/ 6305550 w 7543800"/>
              <a:gd name="connsiteY62" fmla="*/ 4629150 h 9929283"/>
              <a:gd name="connsiteX63" fmla="*/ 6515100 w 7543800"/>
              <a:gd name="connsiteY63" fmla="*/ 4857750 h 9929283"/>
              <a:gd name="connsiteX64" fmla="*/ 6553200 w 7543800"/>
              <a:gd name="connsiteY64" fmla="*/ 4933950 h 9929283"/>
              <a:gd name="connsiteX65" fmla="*/ 6419850 w 7543800"/>
              <a:gd name="connsiteY65" fmla="*/ 5124450 h 9929283"/>
              <a:gd name="connsiteX66" fmla="*/ 6191250 w 7543800"/>
              <a:gd name="connsiteY66" fmla="*/ 5257800 h 9929283"/>
              <a:gd name="connsiteX67" fmla="*/ 6096000 w 7543800"/>
              <a:gd name="connsiteY67" fmla="*/ 5391150 h 9929283"/>
              <a:gd name="connsiteX68" fmla="*/ 6096000 w 7543800"/>
              <a:gd name="connsiteY68" fmla="*/ 6172200 h 9929283"/>
              <a:gd name="connsiteX69" fmla="*/ 6096000 w 7543800"/>
              <a:gd name="connsiteY69" fmla="*/ 6343650 h 9929283"/>
              <a:gd name="connsiteX70" fmla="*/ 6019800 w 7543800"/>
              <a:gd name="connsiteY70" fmla="*/ 6572250 h 9929283"/>
              <a:gd name="connsiteX71" fmla="*/ 5924550 w 7543800"/>
              <a:gd name="connsiteY71" fmla="*/ 6819900 h 9929283"/>
              <a:gd name="connsiteX72" fmla="*/ 5867400 w 7543800"/>
              <a:gd name="connsiteY72" fmla="*/ 7048500 h 9929283"/>
              <a:gd name="connsiteX73" fmla="*/ 5867400 w 7543800"/>
              <a:gd name="connsiteY73" fmla="*/ 7296150 h 9929283"/>
              <a:gd name="connsiteX74" fmla="*/ 5810250 w 7543800"/>
              <a:gd name="connsiteY74" fmla="*/ 7962900 h 9929283"/>
              <a:gd name="connsiteX75" fmla="*/ 5524500 w 7543800"/>
              <a:gd name="connsiteY75" fmla="*/ 8477250 h 9929283"/>
              <a:gd name="connsiteX76" fmla="*/ 5162550 w 7543800"/>
              <a:gd name="connsiteY76" fmla="*/ 8953500 h 9929283"/>
              <a:gd name="connsiteX77" fmla="*/ 4972050 w 7543800"/>
              <a:gd name="connsiteY77" fmla="*/ 9315450 h 9929283"/>
              <a:gd name="connsiteX78" fmla="*/ 4667250 w 7543800"/>
              <a:gd name="connsiteY78" fmla="*/ 9886950 h 9929283"/>
              <a:gd name="connsiteX79" fmla="*/ 4629150 w 7543800"/>
              <a:gd name="connsiteY79" fmla="*/ 9886950 h 9929283"/>
              <a:gd name="connsiteX0" fmla="*/ 38100 w 7543800"/>
              <a:gd name="connsiteY0" fmla="*/ 8362950 h 10687050"/>
              <a:gd name="connsiteX1" fmla="*/ 38100 w 7543800"/>
              <a:gd name="connsiteY1" fmla="*/ 8362950 h 10687050"/>
              <a:gd name="connsiteX2" fmla="*/ 0 w 7543800"/>
              <a:gd name="connsiteY2" fmla="*/ 7524750 h 10687050"/>
              <a:gd name="connsiteX3" fmla="*/ 933450 w 7543800"/>
              <a:gd name="connsiteY3" fmla="*/ 7562850 h 10687050"/>
              <a:gd name="connsiteX4" fmla="*/ 971550 w 7543800"/>
              <a:gd name="connsiteY4" fmla="*/ 6705600 h 10687050"/>
              <a:gd name="connsiteX5" fmla="*/ 552450 w 7543800"/>
              <a:gd name="connsiteY5" fmla="*/ 6705600 h 10687050"/>
              <a:gd name="connsiteX6" fmla="*/ 571500 w 7543800"/>
              <a:gd name="connsiteY6" fmla="*/ 6496050 h 10687050"/>
              <a:gd name="connsiteX7" fmla="*/ 1257300 w 7543800"/>
              <a:gd name="connsiteY7" fmla="*/ 6572250 h 10687050"/>
              <a:gd name="connsiteX8" fmla="*/ 2628900 w 7543800"/>
              <a:gd name="connsiteY8" fmla="*/ 6629400 h 10687050"/>
              <a:gd name="connsiteX9" fmla="*/ 2590800 w 7543800"/>
              <a:gd name="connsiteY9" fmla="*/ 7448550 h 10687050"/>
              <a:gd name="connsiteX10" fmla="*/ 5295900 w 7543800"/>
              <a:gd name="connsiteY10" fmla="*/ 7620000 h 10687050"/>
              <a:gd name="connsiteX11" fmla="*/ 5867400 w 7543800"/>
              <a:gd name="connsiteY11" fmla="*/ 7181850 h 10687050"/>
              <a:gd name="connsiteX12" fmla="*/ 5886450 w 7543800"/>
              <a:gd name="connsiteY12" fmla="*/ 6915150 h 10687050"/>
              <a:gd name="connsiteX13" fmla="*/ 5962650 w 7543800"/>
              <a:gd name="connsiteY13" fmla="*/ 6686550 h 10687050"/>
              <a:gd name="connsiteX14" fmla="*/ 6057900 w 7543800"/>
              <a:gd name="connsiteY14" fmla="*/ 6515100 h 10687050"/>
              <a:gd name="connsiteX15" fmla="*/ 6076950 w 7543800"/>
              <a:gd name="connsiteY15" fmla="*/ 6172200 h 10687050"/>
              <a:gd name="connsiteX16" fmla="*/ 6057900 w 7543800"/>
              <a:gd name="connsiteY16" fmla="*/ 5695950 h 10687050"/>
              <a:gd name="connsiteX17" fmla="*/ 6096000 w 7543800"/>
              <a:gd name="connsiteY17" fmla="*/ 5391150 h 10687050"/>
              <a:gd name="connsiteX18" fmla="*/ 6267450 w 7543800"/>
              <a:gd name="connsiteY18" fmla="*/ 5219700 h 10687050"/>
              <a:gd name="connsiteX19" fmla="*/ 6457950 w 7543800"/>
              <a:gd name="connsiteY19" fmla="*/ 5067300 h 10687050"/>
              <a:gd name="connsiteX20" fmla="*/ 6553200 w 7543800"/>
              <a:gd name="connsiteY20" fmla="*/ 4933950 h 10687050"/>
              <a:gd name="connsiteX21" fmla="*/ 6496050 w 7543800"/>
              <a:gd name="connsiteY21" fmla="*/ 4781550 h 10687050"/>
              <a:gd name="connsiteX22" fmla="*/ 6343650 w 7543800"/>
              <a:gd name="connsiteY22" fmla="*/ 4648200 h 10687050"/>
              <a:gd name="connsiteX23" fmla="*/ 6343650 w 7543800"/>
              <a:gd name="connsiteY23" fmla="*/ 4648200 h 10687050"/>
              <a:gd name="connsiteX24" fmla="*/ 6343650 w 7543800"/>
              <a:gd name="connsiteY24" fmla="*/ 4210050 h 10687050"/>
              <a:gd name="connsiteX25" fmla="*/ 6610350 w 7543800"/>
              <a:gd name="connsiteY25" fmla="*/ 4210050 h 10687050"/>
              <a:gd name="connsiteX26" fmla="*/ 6686550 w 7543800"/>
              <a:gd name="connsiteY26" fmla="*/ 4438650 h 10687050"/>
              <a:gd name="connsiteX27" fmla="*/ 6724650 w 7543800"/>
              <a:gd name="connsiteY27" fmla="*/ 4629150 h 10687050"/>
              <a:gd name="connsiteX28" fmla="*/ 6781800 w 7543800"/>
              <a:gd name="connsiteY28" fmla="*/ 4895850 h 10687050"/>
              <a:gd name="connsiteX29" fmla="*/ 6724650 w 7543800"/>
              <a:gd name="connsiteY29" fmla="*/ 5067300 h 10687050"/>
              <a:gd name="connsiteX30" fmla="*/ 6991350 w 7543800"/>
              <a:gd name="connsiteY30" fmla="*/ 5314950 h 10687050"/>
              <a:gd name="connsiteX31" fmla="*/ 7543800 w 7543800"/>
              <a:gd name="connsiteY31" fmla="*/ 5467350 h 10687050"/>
              <a:gd name="connsiteX32" fmla="*/ 7258050 w 7543800"/>
              <a:gd name="connsiteY32" fmla="*/ 19050 h 10687050"/>
              <a:gd name="connsiteX33" fmla="*/ 6610350 w 7543800"/>
              <a:gd name="connsiteY33" fmla="*/ 0 h 10687050"/>
              <a:gd name="connsiteX34" fmla="*/ 6172200 w 7543800"/>
              <a:gd name="connsiteY34" fmla="*/ 0 h 10687050"/>
              <a:gd name="connsiteX35" fmla="*/ 5143500 w 7543800"/>
              <a:gd name="connsiteY35" fmla="*/ 190500 h 10687050"/>
              <a:gd name="connsiteX36" fmla="*/ 4438650 w 7543800"/>
              <a:gd name="connsiteY36" fmla="*/ 209550 h 10687050"/>
              <a:gd name="connsiteX37" fmla="*/ 4476750 w 7543800"/>
              <a:gd name="connsiteY37" fmla="*/ 266700 h 10687050"/>
              <a:gd name="connsiteX38" fmla="*/ 4286250 w 7543800"/>
              <a:gd name="connsiteY38" fmla="*/ 285750 h 10687050"/>
              <a:gd name="connsiteX39" fmla="*/ 4305300 w 7543800"/>
              <a:gd name="connsiteY39" fmla="*/ 400050 h 10687050"/>
              <a:gd name="connsiteX40" fmla="*/ 5238750 w 7543800"/>
              <a:gd name="connsiteY40" fmla="*/ 381000 h 10687050"/>
              <a:gd name="connsiteX41" fmla="*/ 5448300 w 7543800"/>
              <a:gd name="connsiteY41" fmla="*/ 457200 h 10687050"/>
              <a:gd name="connsiteX42" fmla="*/ 5638800 w 7543800"/>
              <a:gd name="connsiteY42" fmla="*/ 876300 h 10687050"/>
              <a:gd name="connsiteX43" fmla="*/ 5810250 w 7543800"/>
              <a:gd name="connsiteY43" fmla="*/ 1581150 h 10687050"/>
              <a:gd name="connsiteX44" fmla="*/ 5924550 w 7543800"/>
              <a:gd name="connsiteY44" fmla="*/ 1733550 h 10687050"/>
              <a:gd name="connsiteX45" fmla="*/ 6076950 w 7543800"/>
              <a:gd name="connsiteY45" fmla="*/ 2019300 h 10687050"/>
              <a:gd name="connsiteX46" fmla="*/ 6324600 w 7543800"/>
              <a:gd name="connsiteY46" fmla="*/ 2057400 h 10687050"/>
              <a:gd name="connsiteX47" fmla="*/ 6267450 w 7543800"/>
              <a:gd name="connsiteY47" fmla="*/ 2209800 h 10687050"/>
              <a:gd name="connsiteX48" fmla="*/ 6267450 w 7543800"/>
              <a:gd name="connsiteY48" fmla="*/ 2209800 h 10687050"/>
              <a:gd name="connsiteX49" fmla="*/ 6362700 w 7543800"/>
              <a:gd name="connsiteY49" fmla="*/ 2495550 h 10687050"/>
              <a:gd name="connsiteX50" fmla="*/ 6477000 w 7543800"/>
              <a:gd name="connsiteY50" fmla="*/ 2609850 h 10687050"/>
              <a:gd name="connsiteX51" fmla="*/ 6610350 w 7543800"/>
              <a:gd name="connsiteY51" fmla="*/ 2762250 h 10687050"/>
              <a:gd name="connsiteX52" fmla="*/ 6667500 w 7543800"/>
              <a:gd name="connsiteY52" fmla="*/ 2914650 h 10687050"/>
              <a:gd name="connsiteX53" fmla="*/ 6610350 w 7543800"/>
              <a:gd name="connsiteY53" fmla="*/ 3124200 h 10687050"/>
              <a:gd name="connsiteX54" fmla="*/ 6381750 w 7543800"/>
              <a:gd name="connsiteY54" fmla="*/ 3333750 h 10687050"/>
              <a:gd name="connsiteX55" fmla="*/ 6286500 w 7543800"/>
              <a:gd name="connsiteY55" fmla="*/ 3505200 h 10687050"/>
              <a:gd name="connsiteX56" fmla="*/ 6305550 w 7543800"/>
              <a:gd name="connsiteY56" fmla="*/ 3676650 h 10687050"/>
              <a:gd name="connsiteX57" fmla="*/ 6477000 w 7543800"/>
              <a:gd name="connsiteY57" fmla="*/ 3867150 h 10687050"/>
              <a:gd name="connsiteX58" fmla="*/ 6572250 w 7543800"/>
              <a:gd name="connsiteY58" fmla="*/ 3981450 h 10687050"/>
              <a:gd name="connsiteX59" fmla="*/ 6591300 w 7543800"/>
              <a:gd name="connsiteY59" fmla="*/ 4191000 h 10687050"/>
              <a:gd name="connsiteX60" fmla="*/ 6343650 w 7543800"/>
              <a:gd name="connsiteY60" fmla="*/ 4210050 h 10687050"/>
              <a:gd name="connsiteX61" fmla="*/ 6305550 w 7543800"/>
              <a:gd name="connsiteY61" fmla="*/ 4629150 h 10687050"/>
              <a:gd name="connsiteX62" fmla="*/ 6305550 w 7543800"/>
              <a:gd name="connsiteY62" fmla="*/ 4629150 h 10687050"/>
              <a:gd name="connsiteX63" fmla="*/ 6515100 w 7543800"/>
              <a:gd name="connsiteY63" fmla="*/ 4857750 h 10687050"/>
              <a:gd name="connsiteX64" fmla="*/ 6553200 w 7543800"/>
              <a:gd name="connsiteY64" fmla="*/ 4933950 h 10687050"/>
              <a:gd name="connsiteX65" fmla="*/ 6419850 w 7543800"/>
              <a:gd name="connsiteY65" fmla="*/ 5124450 h 10687050"/>
              <a:gd name="connsiteX66" fmla="*/ 6191250 w 7543800"/>
              <a:gd name="connsiteY66" fmla="*/ 5257800 h 10687050"/>
              <a:gd name="connsiteX67" fmla="*/ 6096000 w 7543800"/>
              <a:gd name="connsiteY67" fmla="*/ 5391150 h 10687050"/>
              <a:gd name="connsiteX68" fmla="*/ 6096000 w 7543800"/>
              <a:gd name="connsiteY68" fmla="*/ 6172200 h 10687050"/>
              <a:gd name="connsiteX69" fmla="*/ 6096000 w 7543800"/>
              <a:gd name="connsiteY69" fmla="*/ 6343650 h 10687050"/>
              <a:gd name="connsiteX70" fmla="*/ 6019800 w 7543800"/>
              <a:gd name="connsiteY70" fmla="*/ 6572250 h 10687050"/>
              <a:gd name="connsiteX71" fmla="*/ 5924550 w 7543800"/>
              <a:gd name="connsiteY71" fmla="*/ 6819900 h 10687050"/>
              <a:gd name="connsiteX72" fmla="*/ 5867400 w 7543800"/>
              <a:gd name="connsiteY72" fmla="*/ 7048500 h 10687050"/>
              <a:gd name="connsiteX73" fmla="*/ 5867400 w 7543800"/>
              <a:gd name="connsiteY73" fmla="*/ 7296150 h 10687050"/>
              <a:gd name="connsiteX74" fmla="*/ 5810250 w 7543800"/>
              <a:gd name="connsiteY74" fmla="*/ 7962900 h 10687050"/>
              <a:gd name="connsiteX75" fmla="*/ 5524500 w 7543800"/>
              <a:gd name="connsiteY75" fmla="*/ 8477250 h 10687050"/>
              <a:gd name="connsiteX76" fmla="*/ 5162550 w 7543800"/>
              <a:gd name="connsiteY76" fmla="*/ 8953500 h 10687050"/>
              <a:gd name="connsiteX77" fmla="*/ 4972050 w 7543800"/>
              <a:gd name="connsiteY77" fmla="*/ 9315450 h 10687050"/>
              <a:gd name="connsiteX78" fmla="*/ 4667250 w 7543800"/>
              <a:gd name="connsiteY78" fmla="*/ 9886950 h 10687050"/>
              <a:gd name="connsiteX79" fmla="*/ 4114800 w 7543800"/>
              <a:gd name="connsiteY79" fmla="*/ 10687050 h 10687050"/>
              <a:gd name="connsiteX0" fmla="*/ 38100 w 7543800"/>
              <a:gd name="connsiteY0" fmla="*/ 8362950 h 10736424"/>
              <a:gd name="connsiteX1" fmla="*/ 38100 w 7543800"/>
              <a:gd name="connsiteY1" fmla="*/ 8362950 h 10736424"/>
              <a:gd name="connsiteX2" fmla="*/ 0 w 7543800"/>
              <a:gd name="connsiteY2" fmla="*/ 7524750 h 10736424"/>
              <a:gd name="connsiteX3" fmla="*/ 933450 w 7543800"/>
              <a:gd name="connsiteY3" fmla="*/ 7562850 h 10736424"/>
              <a:gd name="connsiteX4" fmla="*/ 971550 w 7543800"/>
              <a:gd name="connsiteY4" fmla="*/ 6705600 h 10736424"/>
              <a:gd name="connsiteX5" fmla="*/ 552450 w 7543800"/>
              <a:gd name="connsiteY5" fmla="*/ 6705600 h 10736424"/>
              <a:gd name="connsiteX6" fmla="*/ 571500 w 7543800"/>
              <a:gd name="connsiteY6" fmla="*/ 6496050 h 10736424"/>
              <a:gd name="connsiteX7" fmla="*/ 1257300 w 7543800"/>
              <a:gd name="connsiteY7" fmla="*/ 6572250 h 10736424"/>
              <a:gd name="connsiteX8" fmla="*/ 2628900 w 7543800"/>
              <a:gd name="connsiteY8" fmla="*/ 6629400 h 10736424"/>
              <a:gd name="connsiteX9" fmla="*/ 2590800 w 7543800"/>
              <a:gd name="connsiteY9" fmla="*/ 7448550 h 10736424"/>
              <a:gd name="connsiteX10" fmla="*/ 5295900 w 7543800"/>
              <a:gd name="connsiteY10" fmla="*/ 7620000 h 10736424"/>
              <a:gd name="connsiteX11" fmla="*/ 5867400 w 7543800"/>
              <a:gd name="connsiteY11" fmla="*/ 7181850 h 10736424"/>
              <a:gd name="connsiteX12" fmla="*/ 5886450 w 7543800"/>
              <a:gd name="connsiteY12" fmla="*/ 6915150 h 10736424"/>
              <a:gd name="connsiteX13" fmla="*/ 5962650 w 7543800"/>
              <a:gd name="connsiteY13" fmla="*/ 6686550 h 10736424"/>
              <a:gd name="connsiteX14" fmla="*/ 6057900 w 7543800"/>
              <a:gd name="connsiteY14" fmla="*/ 6515100 h 10736424"/>
              <a:gd name="connsiteX15" fmla="*/ 6076950 w 7543800"/>
              <a:gd name="connsiteY15" fmla="*/ 6172200 h 10736424"/>
              <a:gd name="connsiteX16" fmla="*/ 6057900 w 7543800"/>
              <a:gd name="connsiteY16" fmla="*/ 5695950 h 10736424"/>
              <a:gd name="connsiteX17" fmla="*/ 6096000 w 7543800"/>
              <a:gd name="connsiteY17" fmla="*/ 5391150 h 10736424"/>
              <a:gd name="connsiteX18" fmla="*/ 6267450 w 7543800"/>
              <a:gd name="connsiteY18" fmla="*/ 5219700 h 10736424"/>
              <a:gd name="connsiteX19" fmla="*/ 6457950 w 7543800"/>
              <a:gd name="connsiteY19" fmla="*/ 5067300 h 10736424"/>
              <a:gd name="connsiteX20" fmla="*/ 6553200 w 7543800"/>
              <a:gd name="connsiteY20" fmla="*/ 4933950 h 10736424"/>
              <a:gd name="connsiteX21" fmla="*/ 6496050 w 7543800"/>
              <a:gd name="connsiteY21" fmla="*/ 4781550 h 10736424"/>
              <a:gd name="connsiteX22" fmla="*/ 6343650 w 7543800"/>
              <a:gd name="connsiteY22" fmla="*/ 4648200 h 10736424"/>
              <a:gd name="connsiteX23" fmla="*/ 6343650 w 7543800"/>
              <a:gd name="connsiteY23" fmla="*/ 4648200 h 10736424"/>
              <a:gd name="connsiteX24" fmla="*/ 6343650 w 7543800"/>
              <a:gd name="connsiteY24" fmla="*/ 4210050 h 10736424"/>
              <a:gd name="connsiteX25" fmla="*/ 6610350 w 7543800"/>
              <a:gd name="connsiteY25" fmla="*/ 4210050 h 10736424"/>
              <a:gd name="connsiteX26" fmla="*/ 6686550 w 7543800"/>
              <a:gd name="connsiteY26" fmla="*/ 4438650 h 10736424"/>
              <a:gd name="connsiteX27" fmla="*/ 6724650 w 7543800"/>
              <a:gd name="connsiteY27" fmla="*/ 4629150 h 10736424"/>
              <a:gd name="connsiteX28" fmla="*/ 6781800 w 7543800"/>
              <a:gd name="connsiteY28" fmla="*/ 4895850 h 10736424"/>
              <a:gd name="connsiteX29" fmla="*/ 6724650 w 7543800"/>
              <a:gd name="connsiteY29" fmla="*/ 5067300 h 10736424"/>
              <a:gd name="connsiteX30" fmla="*/ 6991350 w 7543800"/>
              <a:gd name="connsiteY30" fmla="*/ 5314950 h 10736424"/>
              <a:gd name="connsiteX31" fmla="*/ 7543800 w 7543800"/>
              <a:gd name="connsiteY31" fmla="*/ 5467350 h 10736424"/>
              <a:gd name="connsiteX32" fmla="*/ 7258050 w 7543800"/>
              <a:gd name="connsiteY32" fmla="*/ 19050 h 10736424"/>
              <a:gd name="connsiteX33" fmla="*/ 6610350 w 7543800"/>
              <a:gd name="connsiteY33" fmla="*/ 0 h 10736424"/>
              <a:gd name="connsiteX34" fmla="*/ 6172200 w 7543800"/>
              <a:gd name="connsiteY34" fmla="*/ 0 h 10736424"/>
              <a:gd name="connsiteX35" fmla="*/ 5143500 w 7543800"/>
              <a:gd name="connsiteY35" fmla="*/ 190500 h 10736424"/>
              <a:gd name="connsiteX36" fmla="*/ 4438650 w 7543800"/>
              <a:gd name="connsiteY36" fmla="*/ 209550 h 10736424"/>
              <a:gd name="connsiteX37" fmla="*/ 4476750 w 7543800"/>
              <a:gd name="connsiteY37" fmla="*/ 266700 h 10736424"/>
              <a:gd name="connsiteX38" fmla="*/ 4286250 w 7543800"/>
              <a:gd name="connsiteY38" fmla="*/ 285750 h 10736424"/>
              <a:gd name="connsiteX39" fmla="*/ 4305300 w 7543800"/>
              <a:gd name="connsiteY39" fmla="*/ 400050 h 10736424"/>
              <a:gd name="connsiteX40" fmla="*/ 5238750 w 7543800"/>
              <a:gd name="connsiteY40" fmla="*/ 381000 h 10736424"/>
              <a:gd name="connsiteX41" fmla="*/ 5448300 w 7543800"/>
              <a:gd name="connsiteY41" fmla="*/ 457200 h 10736424"/>
              <a:gd name="connsiteX42" fmla="*/ 5638800 w 7543800"/>
              <a:gd name="connsiteY42" fmla="*/ 876300 h 10736424"/>
              <a:gd name="connsiteX43" fmla="*/ 5810250 w 7543800"/>
              <a:gd name="connsiteY43" fmla="*/ 1581150 h 10736424"/>
              <a:gd name="connsiteX44" fmla="*/ 5924550 w 7543800"/>
              <a:gd name="connsiteY44" fmla="*/ 1733550 h 10736424"/>
              <a:gd name="connsiteX45" fmla="*/ 6076950 w 7543800"/>
              <a:gd name="connsiteY45" fmla="*/ 2019300 h 10736424"/>
              <a:gd name="connsiteX46" fmla="*/ 6324600 w 7543800"/>
              <a:gd name="connsiteY46" fmla="*/ 2057400 h 10736424"/>
              <a:gd name="connsiteX47" fmla="*/ 6267450 w 7543800"/>
              <a:gd name="connsiteY47" fmla="*/ 2209800 h 10736424"/>
              <a:gd name="connsiteX48" fmla="*/ 6267450 w 7543800"/>
              <a:gd name="connsiteY48" fmla="*/ 2209800 h 10736424"/>
              <a:gd name="connsiteX49" fmla="*/ 6362700 w 7543800"/>
              <a:gd name="connsiteY49" fmla="*/ 2495550 h 10736424"/>
              <a:gd name="connsiteX50" fmla="*/ 6477000 w 7543800"/>
              <a:gd name="connsiteY50" fmla="*/ 2609850 h 10736424"/>
              <a:gd name="connsiteX51" fmla="*/ 6610350 w 7543800"/>
              <a:gd name="connsiteY51" fmla="*/ 2762250 h 10736424"/>
              <a:gd name="connsiteX52" fmla="*/ 6667500 w 7543800"/>
              <a:gd name="connsiteY52" fmla="*/ 2914650 h 10736424"/>
              <a:gd name="connsiteX53" fmla="*/ 6610350 w 7543800"/>
              <a:gd name="connsiteY53" fmla="*/ 3124200 h 10736424"/>
              <a:gd name="connsiteX54" fmla="*/ 6381750 w 7543800"/>
              <a:gd name="connsiteY54" fmla="*/ 3333750 h 10736424"/>
              <a:gd name="connsiteX55" fmla="*/ 6286500 w 7543800"/>
              <a:gd name="connsiteY55" fmla="*/ 3505200 h 10736424"/>
              <a:gd name="connsiteX56" fmla="*/ 6305550 w 7543800"/>
              <a:gd name="connsiteY56" fmla="*/ 3676650 h 10736424"/>
              <a:gd name="connsiteX57" fmla="*/ 6477000 w 7543800"/>
              <a:gd name="connsiteY57" fmla="*/ 3867150 h 10736424"/>
              <a:gd name="connsiteX58" fmla="*/ 6572250 w 7543800"/>
              <a:gd name="connsiteY58" fmla="*/ 3981450 h 10736424"/>
              <a:gd name="connsiteX59" fmla="*/ 6591300 w 7543800"/>
              <a:gd name="connsiteY59" fmla="*/ 4191000 h 10736424"/>
              <a:gd name="connsiteX60" fmla="*/ 6343650 w 7543800"/>
              <a:gd name="connsiteY60" fmla="*/ 4210050 h 10736424"/>
              <a:gd name="connsiteX61" fmla="*/ 6305550 w 7543800"/>
              <a:gd name="connsiteY61" fmla="*/ 4629150 h 10736424"/>
              <a:gd name="connsiteX62" fmla="*/ 6305550 w 7543800"/>
              <a:gd name="connsiteY62" fmla="*/ 4629150 h 10736424"/>
              <a:gd name="connsiteX63" fmla="*/ 6515100 w 7543800"/>
              <a:gd name="connsiteY63" fmla="*/ 4857750 h 10736424"/>
              <a:gd name="connsiteX64" fmla="*/ 6553200 w 7543800"/>
              <a:gd name="connsiteY64" fmla="*/ 4933950 h 10736424"/>
              <a:gd name="connsiteX65" fmla="*/ 6419850 w 7543800"/>
              <a:gd name="connsiteY65" fmla="*/ 5124450 h 10736424"/>
              <a:gd name="connsiteX66" fmla="*/ 6191250 w 7543800"/>
              <a:gd name="connsiteY66" fmla="*/ 5257800 h 10736424"/>
              <a:gd name="connsiteX67" fmla="*/ 6096000 w 7543800"/>
              <a:gd name="connsiteY67" fmla="*/ 5391150 h 10736424"/>
              <a:gd name="connsiteX68" fmla="*/ 6096000 w 7543800"/>
              <a:gd name="connsiteY68" fmla="*/ 6172200 h 10736424"/>
              <a:gd name="connsiteX69" fmla="*/ 6096000 w 7543800"/>
              <a:gd name="connsiteY69" fmla="*/ 6343650 h 10736424"/>
              <a:gd name="connsiteX70" fmla="*/ 6019800 w 7543800"/>
              <a:gd name="connsiteY70" fmla="*/ 6572250 h 10736424"/>
              <a:gd name="connsiteX71" fmla="*/ 5924550 w 7543800"/>
              <a:gd name="connsiteY71" fmla="*/ 6819900 h 10736424"/>
              <a:gd name="connsiteX72" fmla="*/ 5867400 w 7543800"/>
              <a:gd name="connsiteY72" fmla="*/ 7048500 h 10736424"/>
              <a:gd name="connsiteX73" fmla="*/ 5867400 w 7543800"/>
              <a:gd name="connsiteY73" fmla="*/ 7296150 h 10736424"/>
              <a:gd name="connsiteX74" fmla="*/ 5810250 w 7543800"/>
              <a:gd name="connsiteY74" fmla="*/ 7962900 h 10736424"/>
              <a:gd name="connsiteX75" fmla="*/ 5524500 w 7543800"/>
              <a:gd name="connsiteY75" fmla="*/ 8477250 h 10736424"/>
              <a:gd name="connsiteX76" fmla="*/ 5162550 w 7543800"/>
              <a:gd name="connsiteY76" fmla="*/ 8953500 h 10736424"/>
              <a:gd name="connsiteX77" fmla="*/ 4972050 w 7543800"/>
              <a:gd name="connsiteY77" fmla="*/ 9315450 h 10736424"/>
              <a:gd name="connsiteX78" fmla="*/ 4667250 w 7543800"/>
              <a:gd name="connsiteY78" fmla="*/ 9886950 h 10736424"/>
              <a:gd name="connsiteX79" fmla="*/ 4114800 w 7543800"/>
              <a:gd name="connsiteY79" fmla="*/ 10687050 h 10736424"/>
              <a:gd name="connsiteX80" fmla="*/ 4133850 w 7543800"/>
              <a:gd name="connsiteY80" fmla="*/ 10648949 h 10736424"/>
              <a:gd name="connsiteX0" fmla="*/ 38100 w 7543800"/>
              <a:gd name="connsiteY0" fmla="*/ 8362950 h 11258652"/>
              <a:gd name="connsiteX1" fmla="*/ 38100 w 7543800"/>
              <a:gd name="connsiteY1" fmla="*/ 8362950 h 11258652"/>
              <a:gd name="connsiteX2" fmla="*/ 0 w 7543800"/>
              <a:gd name="connsiteY2" fmla="*/ 7524750 h 11258652"/>
              <a:gd name="connsiteX3" fmla="*/ 933450 w 7543800"/>
              <a:gd name="connsiteY3" fmla="*/ 7562850 h 11258652"/>
              <a:gd name="connsiteX4" fmla="*/ 971550 w 7543800"/>
              <a:gd name="connsiteY4" fmla="*/ 6705600 h 11258652"/>
              <a:gd name="connsiteX5" fmla="*/ 552450 w 7543800"/>
              <a:gd name="connsiteY5" fmla="*/ 6705600 h 11258652"/>
              <a:gd name="connsiteX6" fmla="*/ 571500 w 7543800"/>
              <a:gd name="connsiteY6" fmla="*/ 6496050 h 11258652"/>
              <a:gd name="connsiteX7" fmla="*/ 1257300 w 7543800"/>
              <a:gd name="connsiteY7" fmla="*/ 6572250 h 11258652"/>
              <a:gd name="connsiteX8" fmla="*/ 2628900 w 7543800"/>
              <a:gd name="connsiteY8" fmla="*/ 6629400 h 11258652"/>
              <a:gd name="connsiteX9" fmla="*/ 2590800 w 7543800"/>
              <a:gd name="connsiteY9" fmla="*/ 7448550 h 11258652"/>
              <a:gd name="connsiteX10" fmla="*/ 5295900 w 7543800"/>
              <a:gd name="connsiteY10" fmla="*/ 7620000 h 11258652"/>
              <a:gd name="connsiteX11" fmla="*/ 5867400 w 7543800"/>
              <a:gd name="connsiteY11" fmla="*/ 7181850 h 11258652"/>
              <a:gd name="connsiteX12" fmla="*/ 5886450 w 7543800"/>
              <a:gd name="connsiteY12" fmla="*/ 6915150 h 11258652"/>
              <a:gd name="connsiteX13" fmla="*/ 5962650 w 7543800"/>
              <a:gd name="connsiteY13" fmla="*/ 6686550 h 11258652"/>
              <a:gd name="connsiteX14" fmla="*/ 6057900 w 7543800"/>
              <a:gd name="connsiteY14" fmla="*/ 6515100 h 11258652"/>
              <a:gd name="connsiteX15" fmla="*/ 6076950 w 7543800"/>
              <a:gd name="connsiteY15" fmla="*/ 6172200 h 11258652"/>
              <a:gd name="connsiteX16" fmla="*/ 6057900 w 7543800"/>
              <a:gd name="connsiteY16" fmla="*/ 5695950 h 11258652"/>
              <a:gd name="connsiteX17" fmla="*/ 6096000 w 7543800"/>
              <a:gd name="connsiteY17" fmla="*/ 5391150 h 11258652"/>
              <a:gd name="connsiteX18" fmla="*/ 6267450 w 7543800"/>
              <a:gd name="connsiteY18" fmla="*/ 5219700 h 11258652"/>
              <a:gd name="connsiteX19" fmla="*/ 6457950 w 7543800"/>
              <a:gd name="connsiteY19" fmla="*/ 5067300 h 11258652"/>
              <a:gd name="connsiteX20" fmla="*/ 6553200 w 7543800"/>
              <a:gd name="connsiteY20" fmla="*/ 4933950 h 11258652"/>
              <a:gd name="connsiteX21" fmla="*/ 6496050 w 7543800"/>
              <a:gd name="connsiteY21" fmla="*/ 4781550 h 11258652"/>
              <a:gd name="connsiteX22" fmla="*/ 6343650 w 7543800"/>
              <a:gd name="connsiteY22" fmla="*/ 4648200 h 11258652"/>
              <a:gd name="connsiteX23" fmla="*/ 6343650 w 7543800"/>
              <a:gd name="connsiteY23" fmla="*/ 4648200 h 11258652"/>
              <a:gd name="connsiteX24" fmla="*/ 6343650 w 7543800"/>
              <a:gd name="connsiteY24" fmla="*/ 4210050 h 11258652"/>
              <a:gd name="connsiteX25" fmla="*/ 6610350 w 7543800"/>
              <a:gd name="connsiteY25" fmla="*/ 4210050 h 11258652"/>
              <a:gd name="connsiteX26" fmla="*/ 6686550 w 7543800"/>
              <a:gd name="connsiteY26" fmla="*/ 4438650 h 11258652"/>
              <a:gd name="connsiteX27" fmla="*/ 6724650 w 7543800"/>
              <a:gd name="connsiteY27" fmla="*/ 4629150 h 11258652"/>
              <a:gd name="connsiteX28" fmla="*/ 6781800 w 7543800"/>
              <a:gd name="connsiteY28" fmla="*/ 4895850 h 11258652"/>
              <a:gd name="connsiteX29" fmla="*/ 6724650 w 7543800"/>
              <a:gd name="connsiteY29" fmla="*/ 5067300 h 11258652"/>
              <a:gd name="connsiteX30" fmla="*/ 6991350 w 7543800"/>
              <a:gd name="connsiteY30" fmla="*/ 5314950 h 11258652"/>
              <a:gd name="connsiteX31" fmla="*/ 7543800 w 7543800"/>
              <a:gd name="connsiteY31" fmla="*/ 5467350 h 11258652"/>
              <a:gd name="connsiteX32" fmla="*/ 7258050 w 7543800"/>
              <a:gd name="connsiteY32" fmla="*/ 19050 h 11258652"/>
              <a:gd name="connsiteX33" fmla="*/ 6610350 w 7543800"/>
              <a:gd name="connsiteY33" fmla="*/ 0 h 11258652"/>
              <a:gd name="connsiteX34" fmla="*/ 6172200 w 7543800"/>
              <a:gd name="connsiteY34" fmla="*/ 0 h 11258652"/>
              <a:gd name="connsiteX35" fmla="*/ 5143500 w 7543800"/>
              <a:gd name="connsiteY35" fmla="*/ 190500 h 11258652"/>
              <a:gd name="connsiteX36" fmla="*/ 4438650 w 7543800"/>
              <a:gd name="connsiteY36" fmla="*/ 209550 h 11258652"/>
              <a:gd name="connsiteX37" fmla="*/ 4476750 w 7543800"/>
              <a:gd name="connsiteY37" fmla="*/ 266700 h 11258652"/>
              <a:gd name="connsiteX38" fmla="*/ 4286250 w 7543800"/>
              <a:gd name="connsiteY38" fmla="*/ 285750 h 11258652"/>
              <a:gd name="connsiteX39" fmla="*/ 4305300 w 7543800"/>
              <a:gd name="connsiteY39" fmla="*/ 400050 h 11258652"/>
              <a:gd name="connsiteX40" fmla="*/ 5238750 w 7543800"/>
              <a:gd name="connsiteY40" fmla="*/ 381000 h 11258652"/>
              <a:gd name="connsiteX41" fmla="*/ 5448300 w 7543800"/>
              <a:gd name="connsiteY41" fmla="*/ 457200 h 11258652"/>
              <a:gd name="connsiteX42" fmla="*/ 5638800 w 7543800"/>
              <a:gd name="connsiteY42" fmla="*/ 876300 h 11258652"/>
              <a:gd name="connsiteX43" fmla="*/ 5810250 w 7543800"/>
              <a:gd name="connsiteY43" fmla="*/ 1581150 h 11258652"/>
              <a:gd name="connsiteX44" fmla="*/ 5924550 w 7543800"/>
              <a:gd name="connsiteY44" fmla="*/ 1733550 h 11258652"/>
              <a:gd name="connsiteX45" fmla="*/ 6076950 w 7543800"/>
              <a:gd name="connsiteY45" fmla="*/ 2019300 h 11258652"/>
              <a:gd name="connsiteX46" fmla="*/ 6324600 w 7543800"/>
              <a:gd name="connsiteY46" fmla="*/ 2057400 h 11258652"/>
              <a:gd name="connsiteX47" fmla="*/ 6267450 w 7543800"/>
              <a:gd name="connsiteY47" fmla="*/ 2209800 h 11258652"/>
              <a:gd name="connsiteX48" fmla="*/ 6267450 w 7543800"/>
              <a:gd name="connsiteY48" fmla="*/ 2209800 h 11258652"/>
              <a:gd name="connsiteX49" fmla="*/ 6362700 w 7543800"/>
              <a:gd name="connsiteY49" fmla="*/ 2495550 h 11258652"/>
              <a:gd name="connsiteX50" fmla="*/ 6477000 w 7543800"/>
              <a:gd name="connsiteY50" fmla="*/ 2609850 h 11258652"/>
              <a:gd name="connsiteX51" fmla="*/ 6610350 w 7543800"/>
              <a:gd name="connsiteY51" fmla="*/ 2762250 h 11258652"/>
              <a:gd name="connsiteX52" fmla="*/ 6667500 w 7543800"/>
              <a:gd name="connsiteY52" fmla="*/ 2914650 h 11258652"/>
              <a:gd name="connsiteX53" fmla="*/ 6610350 w 7543800"/>
              <a:gd name="connsiteY53" fmla="*/ 3124200 h 11258652"/>
              <a:gd name="connsiteX54" fmla="*/ 6381750 w 7543800"/>
              <a:gd name="connsiteY54" fmla="*/ 3333750 h 11258652"/>
              <a:gd name="connsiteX55" fmla="*/ 6286500 w 7543800"/>
              <a:gd name="connsiteY55" fmla="*/ 3505200 h 11258652"/>
              <a:gd name="connsiteX56" fmla="*/ 6305550 w 7543800"/>
              <a:gd name="connsiteY56" fmla="*/ 3676650 h 11258652"/>
              <a:gd name="connsiteX57" fmla="*/ 6477000 w 7543800"/>
              <a:gd name="connsiteY57" fmla="*/ 3867150 h 11258652"/>
              <a:gd name="connsiteX58" fmla="*/ 6572250 w 7543800"/>
              <a:gd name="connsiteY58" fmla="*/ 3981450 h 11258652"/>
              <a:gd name="connsiteX59" fmla="*/ 6591300 w 7543800"/>
              <a:gd name="connsiteY59" fmla="*/ 4191000 h 11258652"/>
              <a:gd name="connsiteX60" fmla="*/ 6343650 w 7543800"/>
              <a:gd name="connsiteY60" fmla="*/ 4210050 h 11258652"/>
              <a:gd name="connsiteX61" fmla="*/ 6305550 w 7543800"/>
              <a:gd name="connsiteY61" fmla="*/ 4629150 h 11258652"/>
              <a:gd name="connsiteX62" fmla="*/ 6305550 w 7543800"/>
              <a:gd name="connsiteY62" fmla="*/ 4629150 h 11258652"/>
              <a:gd name="connsiteX63" fmla="*/ 6515100 w 7543800"/>
              <a:gd name="connsiteY63" fmla="*/ 4857750 h 11258652"/>
              <a:gd name="connsiteX64" fmla="*/ 6553200 w 7543800"/>
              <a:gd name="connsiteY64" fmla="*/ 4933950 h 11258652"/>
              <a:gd name="connsiteX65" fmla="*/ 6419850 w 7543800"/>
              <a:gd name="connsiteY65" fmla="*/ 5124450 h 11258652"/>
              <a:gd name="connsiteX66" fmla="*/ 6191250 w 7543800"/>
              <a:gd name="connsiteY66" fmla="*/ 5257800 h 11258652"/>
              <a:gd name="connsiteX67" fmla="*/ 6096000 w 7543800"/>
              <a:gd name="connsiteY67" fmla="*/ 5391150 h 11258652"/>
              <a:gd name="connsiteX68" fmla="*/ 6096000 w 7543800"/>
              <a:gd name="connsiteY68" fmla="*/ 6172200 h 11258652"/>
              <a:gd name="connsiteX69" fmla="*/ 6096000 w 7543800"/>
              <a:gd name="connsiteY69" fmla="*/ 6343650 h 11258652"/>
              <a:gd name="connsiteX70" fmla="*/ 6019800 w 7543800"/>
              <a:gd name="connsiteY70" fmla="*/ 6572250 h 11258652"/>
              <a:gd name="connsiteX71" fmla="*/ 5924550 w 7543800"/>
              <a:gd name="connsiteY71" fmla="*/ 6819900 h 11258652"/>
              <a:gd name="connsiteX72" fmla="*/ 5867400 w 7543800"/>
              <a:gd name="connsiteY72" fmla="*/ 7048500 h 11258652"/>
              <a:gd name="connsiteX73" fmla="*/ 5867400 w 7543800"/>
              <a:gd name="connsiteY73" fmla="*/ 7296150 h 11258652"/>
              <a:gd name="connsiteX74" fmla="*/ 5810250 w 7543800"/>
              <a:gd name="connsiteY74" fmla="*/ 7962900 h 11258652"/>
              <a:gd name="connsiteX75" fmla="*/ 5524500 w 7543800"/>
              <a:gd name="connsiteY75" fmla="*/ 8477250 h 11258652"/>
              <a:gd name="connsiteX76" fmla="*/ 5162550 w 7543800"/>
              <a:gd name="connsiteY76" fmla="*/ 8953500 h 11258652"/>
              <a:gd name="connsiteX77" fmla="*/ 4972050 w 7543800"/>
              <a:gd name="connsiteY77" fmla="*/ 9315450 h 11258652"/>
              <a:gd name="connsiteX78" fmla="*/ 4667250 w 7543800"/>
              <a:gd name="connsiteY78" fmla="*/ 9886950 h 11258652"/>
              <a:gd name="connsiteX79" fmla="*/ 4114800 w 7543800"/>
              <a:gd name="connsiteY79" fmla="*/ 10687050 h 11258652"/>
              <a:gd name="connsiteX80" fmla="*/ 4000500 w 7543800"/>
              <a:gd name="connsiteY80" fmla="*/ 11258549 h 11258652"/>
              <a:gd name="connsiteX0" fmla="*/ 38100 w 7543800"/>
              <a:gd name="connsiteY0" fmla="*/ 8362950 h 11258652"/>
              <a:gd name="connsiteX1" fmla="*/ 38100 w 7543800"/>
              <a:gd name="connsiteY1" fmla="*/ 8362950 h 11258652"/>
              <a:gd name="connsiteX2" fmla="*/ 0 w 7543800"/>
              <a:gd name="connsiteY2" fmla="*/ 7524750 h 11258652"/>
              <a:gd name="connsiteX3" fmla="*/ 933450 w 7543800"/>
              <a:gd name="connsiteY3" fmla="*/ 7562850 h 11258652"/>
              <a:gd name="connsiteX4" fmla="*/ 971550 w 7543800"/>
              <a:gd name="connsiteY4" fmla="*/ 6705600 h 11258652"/>
              <a:gd name="connsiteX5" fmla="*/ 552450 w 7543800"/>
              <a:gd name="connsiteY5" fmla="*/ 6705600 h 11258652"/>
              <a:gd name="connsiteX6" fmla="*/ 571500 w 7543800"/>
              <a:gd name="connsiteY6" fmla="*/ 6496050 h 11258652"/>
              <a:gd name="connsiteX7" fmla="*/ 1257300 w 7543800"/>
              <a:gd name="connsiteY7" fmla="*/ 6572250 h 11258652"/>
              <a:gd name="connsiteX8" fmla="*/ 2628900 w 7543800"/>
              <a:gd name="connsiteY8" fmla="*/ 6629400 h 11258652"/>
              <a:gd name="connsiteX9" fmla="*/ 2590800 w 7543800"/>
              <a:gd name="connsiteY9" fmla="*/ 7448550 h 11258652"/>
              <a:gd name="connsiteX10" fmla="*/ 5295900 w 7543800"/>
              <a:gd name="connsiteY10" fmla="*/ 7620000 h 11258652"/>
              <a:gd name="connsiteX11" fmla="*/ 5867400 w 7543800"/>
              <a:gd name="connsiteY11" fmla="*/ 7181850 h 11258652"/>
              <a:gd name="connsiteX12" fmla="*/ 5886450 w 7543800"/>
              <a:gd name="connsiteY12" fmla="*/ 6915150 h 11258652"/>
              <a:gd name="connsiteX13" fmla="*/ 5962650 w 7543800"/>
              <a:gd name="connsiteY13" fmla="*/ 6686550 h 11258652"/>
              <a:gd name="connsiteX14" fmla="*/ 6057900 w 7543800"/>
              <a:gd name="connsiteY14" fmla="*/ 6515100 h 11258652"/>
              <a:gd name="connsiteX15" fmla="*/ 6076950 w 7543800"/>
              <a:gd name="connsiteY15" fmla="*/ 6172200 h 11258652"/>
              <a:gd name="connsiteX16" fmla="*/ 6057900 w 7543800"/>
              <a:gd name="connsiteY16" fmla="*/ 5695950 h 11258652"/>
              <a:gd name="connsiteX17" fmla="*/ 6096000 w 7543800"/>
              <a:gd name="connsiteY17" fmla="*/ 5391150 h 11258652"/>
              <a:gd name="connsiteX18" fmla="*/ 6267450 w 7543800"/>
              <a:gd name="connsiteY18" fmla="*/ 5219700 h 11258652"/>
              <a:gd name="connsiteX19" fmla="*/ 6457950 w 7543800"/>
              <a:gd name="connsiteY19" fmla="*/ 5067300 h 11258652"/>
              <a:gd name="connsiteX20" fmla="*/ 6553200 w 7543800"/>
              <a:gd name="connsiteY20" fmla="*/ 4933950 h 11258652"/>
              <a:gd name="connsiteX21" fmla="*/ 6496050 w 7543800"/>
              <a:gd name="connsiteY21" fmla="*/ 4781550 h 11258652"/>
              <a:gd name="connsiteX22" fmla="*/ 6343650 w 7543800"/>
              <a:gd name="connsiteY22" fmla="*/ 4648200 h 11258652"/>
              <a:gd name="connsiteX23" fmla="*/ 6343650 w 7543800"/>
              <a:gd name="connsiteY23" fmla="*/ 4648200 h 11258652"/>
              <a:gd name="connsiteX24" fmla="*/ 6343650 w 7543800"/>
              <a:gd name="connsiteY24" fmla="*/ 4210050 h 11258652"/>
              <a:gd name="connsiteX25" fmla="*/ 6610350 w 7543800"/>
              <a:gd name="connsiteY25" fmla="*/ 4210050 h 11258652"/>
              <a:gd name="connsiteX26" fmla="*/ 6686550 w 7543800"/>
              <a:gd name="connsiteY26" fmla="*/ 4438650 h 11258652"/>
              <a:gd name="connsiteX27" fmla="*/ 6724650 w 7543800"/>
              <a:gd name="connsiteY27" fmla="*/ 4629150 h 11258652"/>
              <a:gd name="connsiteX28" fmla="*/ 6781800 w 7543800"/>
              <a:gd name="connsiteY28" fmla="*/ 4895850 h 11258652"/>
              <a:gd name="connsiteX29" fmla="*/ 6724650 w 7543800"/>
              <a:gd name="connsiteY29" fmla="*/ 5067300 h 11258652"/>
              <a:gd name="connsiteX30" fmla="*/ 6991350 w 7543800"/>
              <a:gd name="connsiteY30" fmla="*/ 5314950 h 11258652"/>
              <a:gd name="connsiteX31" fmla="*/ 7543800 w 7543800"/>
              <a:gd name="connsiteY31" fmla="*/ 5467350 h 11258652"/>
              <a:gd name="connsiteX32" fmla="*/ 7258050 w 7543800"/>
              <a:gd name="connsiteY32" fmla="*/ 19050 h 11258652"/>
              <a:gd name="connsiteX33" fmla="*/ 6610350 w 7543800"/>
              <a:gd name="connsiteY33" fmla="*/ 0 h 11258652"/>
              <a:gd name="connsiteX34" fmla="*/ 6172200 w 7543800"/>
              <a:gd name="connsiteY34" fmla="*/ 0 h 11258652"/>
              <a:gd name="connsiteX35" fmla="*/ 5143500 w 7543800"/>
              <a:gd name="connsiteY35" fmla="*/ 190500 h 11258652"/>
              <a:gd name="connsiteX36" fmla="*/ 4438650 w 7543800"/>
              <a:gd name="connsiteY36" fmla="*/ 209550 h 11258652"/>
              <a:gd name="connsiteX37" fmla="*/ 4476750 w 7543800"/>
              <a:gd name="connsiteY37" fmla="*/ 266700 h 11258652"/>
              <a:gd name="connsiteX38" fmla="*/ 4286250 w 7543800"/>
              <a:gd name="connsiteY38" fmla="*/ 285750 h 11258652"/>
              <a:gd name="connsiteX39" fmla="*/ 4305300 w 7543800"/>
              <a:gd name="connsiteY39" fmla="*/ 400050 h 11258652"/>
              <a:gd name="connsiteX40" fmla="*/ 5238750 w 7543800"/>
              <a:gd name="connsiteY40" fmla="*/ 381000 h 11258652"/>
              <a:gd name="connsiteX41" fmla="*/ 5448300 w 7543800"/>
              <a:gd name="connsiteY41" fmla="*/ 457200 h 11258652"/>
              <a:gd name="connsiteX42" fmla="*/ 5638800 w 7543800"/>
              <a:gd name="connsiteY42" fmla="*/ 876300 h 11258652"/>
              <a:gd name="connsiteX43" fmla="*/ 5810250 w 7543800"/>
              <a:gd name="connsiteY43" fmla="*/ 1581150 h 11258652"/>
              <a:gd name="connsiteX44" fmla="*/ 5924550 w 7543800"/>
              <a:gd name="connsiteY44" fmla="*/ 1733550 h 11258652"/>
              <a:gd name="connsiteX45" fmla="*/ 6076950 w 7543800"/>
              <a:gd name="connsiteY45" fmla="*/ 2019300 h 11258652"/>
              <a:gd name="connsiteX46" fmla="*/ 6324600 w 7543800"/>
              <a:gd name="connsiteY46" fmla="*/ 2057400 h 11258652"/>
              <a:gd name="connsiteX47" fmla="*/ 6267450 w 7543800"/>
              <a:gd name="connsiteY47" fmla="*/ 2209800 h 11258652"/>
              <a:gd name="connsiteX48" fmla="*/ 6267450 w 7543800"/>
              <a:gd name="connsiteY48" fmla="*/ 2209800 h 11258652"/>
              <a:gd name="connsiteX49" fmla="*/ 6362700 w 7543800"/>
              <a:gd name="connsiteY49" fmla="*/ 2495550 h 11258652"/>
              <a:gd name="connsiteX50" fmla="*/ 6477000 w 7543800"/>
              <a:gd name="connsiteY50" fmla="*/ 2609850 h 11258652"/>
              <a:gd name="connsiteX51" fmla="*/ 6610350 w 7543800"/>
              <a:gd name="connsiteY51" fmla="*/ 2762250 h 11258652"/>
              <a:gd name="connsiteX52" fmla="*/ 6667500 w 7543800"/>
              <a:gd name="connsiteY52" fmla="*/ 2914650 h 11258652"/>
              <a:gd name="connsiteX53" fmla="*/ 6610350 w 7543800"/>
              <a:gd name="connsiteY53" fmla="*/ 3124200 h 11258652"/>
              <a:gd name="connsiteX54" fmla="*/ 6381750 w 7543800"/>
              <a:gd name="connsiteY54" fmla="*/ 3333750 h 11258652"/>
              <a:gd name="connsiteX55" fmla="*/ 6286500 w 7543800"/>
              <a:gd name="connsiteY55" fmla="*/ 3505200 h 11258652"/>
              <a:gd name="connsiteX56" fmla="*/ 6305550 w 7543800"/>
              <a:gd name="connsiteY56" fmla="*/ 3676650 h 11258652"/>
              <a:gd name="connsiteX57" fmla="*/ 6477000 w 7543800"/>
              <a:gd name="connsiteY57" fmla="*/ 3867150 h 11258652"/>
              <a:gd name="connsiteX58" fmla="*/ 6572250 w 7543800"/>
              <a:gd name="connsiteY58" fmla="*/ 3981450 h 11258652"/>
              <a:gd name="connsiteX59" fmla="*/ 6591300 w 7543800"/>
              <a:gd name="connsiteY59" fmla="*/ 4191000 h 11258652"/>
              <a:gd name="connsiteX60" fmla="*/ 6343650 w 7543800"/>
              <a:gd name="connsiteY60" fmla="*/ 4210050 h 11258652"/>
              <a:gd name="connsiteX61" fmla="*/ 6305550 w 7543800"/>
              <a:gd name="connsiteY61" fmla="*/ 4629150 h 11258652"/>
              <a:gd name="connsiteX62" fmla="*/ 6305550 w 7543800"/>
              <a:gd name="connsiteY62" fmla="*/ 4629150 h 11258652"/>
              <a:gd name="connsiteX63" fmla="*/ 6515100 w 7543800"/>
              <a:gd name="connsiteY63" fmla="*/ 4857750 h 11258652"/>
              <a:gd name="connsiteX64" fmla="*/ 6553200 w 7543800"/>
              <a:gd name="connsiteY64" fmla="*/ 4933950 h 11258652"/>
              <a:gd name="connsiteX65" fmla="*/ 6419850 w 7543800"/>
              <a:gd name="connsiteY65" fmla="*/ 5124450 h 11258652"/>
              <a:gd name="connsiteX66" fmla="*/ 6191250 w 7543800"/>
              <a:gd name="connsiteY66" fmla="*/ 5257800 h 11258652"/>
              <a:gd name="connsiteX67" fmla="*/ 6096000 w 7543800"/>
              <a:gd name="connsiteY67" fmla="*/ 5391150 h 11258652"/>
              <a:gd name="connsiteX68" fmla="*/ 6096000 w 7543800"/>
              <a:gd name="connsiteY68" fmla="*/ 6172200 h 11258652"/>
              <a:gd name="connsiteX69" fmla="*/ 6096000 w 7543800"/>
              <a:gd name="connsiteY69" fmla="*/ 6343650 h 11258652"/>
              <a:gd name="connsiteX70" fmla="*/ 6019800 w 7543800"/>
              <a:gd name="connsiteY70" fmla="*/ 6572250 h 11258652"/>
              <a:gd name="connsiteX71" fmla="*/ 5924550 w 7543800"/>
              <a:gd name="connsiteY71" fmla="*/ 6819900 h 11258652"/>
              <a:gd name="connsiteX72" fmla="*/ 5867400 w 7543800"/>
              <a:gd name="connsiteY72" fmla="*/ 7048500 h 11258652"/>
              <a:gd name="connsiteX73" fmla="*/ 5867400 w 7543800"/>
              <a:gd name="connsiteY73" fmla="*/ 7296150 h 11258652"/>
              <a:gd name="connsiteX74" fmla="*/ 5810250 w 7543800"/>
              <a:gd name="connsiteY74" fmla="*/ 7962900 h 11258652"/>
              <a:gd name="connsiteX75" fmla="*/ 5524500 w 7543800"/>
              <a:gd name="connsiteY75" fmla="*/ 8477250 h 11258652"/>
              <a:gd name="connsiteX76" fmla="*/ 5162550 w 7543800"/>
              <a:gd name="connsiteY76" fmla="*/ 8953500 h 11258652"/>
              <a:gd name="connsiteX77" fmla="*/ 4972050 w 7543800"/>
              <a:gd name="connsiteY77" fmla="*/ 9315450 h 11258652"/>
              <a:gd name="connsiteX78" fmla="*/ 4667250 w 7543800"/>
              <a:gd name="connsiteY78" fmla="*/ 9886950 h 11258652"/>
              <a:gd name="connsiteX79" fmla="*/ 4114800 w 7543800"/>
              <a:gd name="connsiteY79" fmla="*/ 10687050 h 11258652"/>
              <a:gd name="connsiteX80" fmla="*/ 4000500 w 7543800"/>
              <a:gd name="connsiteY80" fmla="*/ 11258549 h 11258652"/>
              <a:gd name="connsiteX81" fmla="*/ 4000500 w 7543800"/>
              <a:gd name="connsiteY81" fmla="*/ 11258549 h 11258652"/>
              <a:gd name="connsiteX0" fmla="*/ 38100 w 7543800"/>
              <a:gd name="connsiteY0" fmla="*/ 8362950 h 11582399"/>
              <a:gd name="connsiteX1" fmla="*/ 38100 w 7543800"/>
              <a:gd name="connsiteY1" fmla="*/ 8362950 h 11582399"/>
              <a:gd name="connsiteX2" fmla="*/ 0 w 7543800"/>
              <a:gd name="connsiteY2" fmla="*/ 7524750 h 11582399"/>
              <a:gd name="connsiteX3" fmla="*/ 933450 w 7543800"/>
              <a:gd name="connsiteY3" fmla="*/ 7562850 h 11582399"/>
              <a:gd name="connsiteX4" fmla="*/ 971550 w 7543800"/>
              <a:gd name="connsiteY4" fmla="*/ 6705600 h 11582399"/>
              <a:gd name="connsiteX5" fmla="*/ 552450 w 7543800"/>
              <a:gd name="connsiteY5" fmla="*/ 6705600 h 11582399"/>
              <a:gd name="connsiteX6" fmla="*/ 571500 w 7543800"/>
              <a:gd name="connsiteY6" fmla="*/ 6496050 h 11582399"/>
              <a:gd name="connsiteX7" fmla="*/ 1257300 w 7543800"/>
              <a:gd name="connsiteY7" fmla="*/ 6572250 h 11582399"/>
              <a:gd name="connsiteX8" fmla="*/ 2628900 w 7543800"/>
              <a:gd name="connsiteY8" fmla="*/ 6629400 h 11582399"/>
              <a:gd name="connsiteX9" fmla="*/ 2590800 w 7543800"/>
              <a:gd name="connsiteY9" fmla="*/ 7448550 h 11582399"/>
              <a:gd name="connsiteX10" fmla="*/ 5295900 w 7543800"/>
              <a:gd name="connsiteY10" fmla="*/ 7620000 h 11582399"/>
              <a:gd name="connsiteX11" fmla="*/ 5867400 w 7543800"/>
              <a:gd name="connsiteY11" fmla="*/ 7181850 h 11582399"/>
              <a:gd name="connsiteX12" fmla="*/ 5886450 w 7543800"/>
              <a:gd name="connsiteY12" fmla="*/ 6915150 h 11582399"/>
              <a:gd name="connsiteX13" fmla="*/ 5962650 w 7543800"/>
              <a:gd name="connsiteY13" fmla="*/ 6686550 h 11582399"/>
              <a:gd name="connsiteX14" fmla="*/ 6057900 w 7543800"/>
              <a:gd name="connsiteY14" fmla="*/ 6515100 h 11582399"/>
              <a:gd name="connsiteX15" fmla="*/ 6076950 w 7543800"/>
              <a:gd name="connsiteY15" fmla="*/ 6172200 h 11582399"/>
              <a:gd name="connsiteX16" fmla="*/ 6057900 w 7543800"/>
              <a:gd name="connsiteY16" fmla="*/ 5695950 h 11582399"/>
              <a:gd name="connsiteX17" fmla="*/ 6096000 w 7543800"/>
              <a:gd name="connsiteY17" fmla="*/ 5391150 h 11582399"/>
              <a:gd name="connsiteX18" fmla="*/ 6267450 w 7543800"/>
              <a:gd name="connsiteY18" fmla="*/ 5219700 h 11582399"/>
              <a:gd name="connsiteX19" fmla="*/ 6457950 w 7543800"/>
              <a:gd name="connsiteY19" fmla="*/ 5067300 h 11582399"/>
              <a:gd name="connsiteX20" fmla="*/ 6553200 w 7543800"/>
              <a:gd name="connsiteY20" fmla="*/ 4933950 h 11582399"/>
              <a:gd name="connsiteX21" fmla="*/ 6496050 w 7543800"/>
              <a:gd name="connsiteY21" fmla="*/ 4781550 h 11582399"/>
              <a:gd name="connsiteX22" fmla="*/ 6343650 w 7543800"/>
              <a:gd name="connsiteY22" fmla="*/ 4648200 h 11582399"/>
              <a:gd name="connsiteX23" fmla="*/ 6343650 w 7543800"/>
              <a:gd name="connsiteY23" fmla="*/ 4648200 h 11582399"/>
              <a:gd name="connsiteX24" fmla="*/ 6343650 w 7543800"/>
              <a:gd name="connsiteY24" fmla="*/ 4210050 h 11582399"/>
              <a:gd name="connsiteX25" fmla="*/ 6610350 w 7543800"/>
              <a:gd name="connsiteY25" fmla="*/ 4210050 h 11582399"/>
              <a:gd name="connsiteX26" fmla="*/ 6686550 w 7543800"/>
              <a:gd name="connsiteY26" fmla="*/ 4438650 h 11582399"/>
              <a:gd name="connsiteX27" fmla="*/ 6724650 w 7543800"/>
              <a:gd name="connsiteY27" fmla="*/ 4629150 h 11582399"/>
              <a:gd name="connsiteX28" fmla="*/ 6781800 w 7543800"/>
              <a:gd name="connsiteY28" fmla="*/ 4895850 h 11582399"/>
              <a:gd name="connsiteX29" fmla="*/ 6724650 w 7543800"/>
              <a:gd name="connsiteY29" fmla="*/ 5067300 h 11582399"/>
              <a:gd name="connsiteX30" fmla="*/ 6991350 w 7543800"/>
              <a:gd name="connsiteY30" fmla="*/ 5314950 h 11582399"/>
              <a:gd name="connsiteX31" fmla="*/ 7543800 w 7543800"/>
              <a:gd name="connsiteY31" fmla="*/ 5467350 h 11582399"/>
              <a:gd name="connsiteX32" fmla="*/ 7258050 w 7543800"/>
              <a:gd name="connsiteY32" fmla="*/ 19050 h 11582399"/>
              <a:gd name="connsiteX33" fmla="*/ 6610350 w 7543800"/>
              <a:gd name="connsiteY33" fmla="*/ 0 h 11582399"/>
              <a:gd name="connsiteX34" fmla="*/ 6172200 w 7543800"/>
              <a:gd name="connsiteY34" fmla="*/ 0 h 11582399"/>
              <a:gd name="connsiteX35" fmla="*/ 5143500 w 7543800"/>
              <a:gd name="connsiteY35" fmla="*/ 190500 h 11582399"/>
              <a:gd name="connsiteX36" fmla="*/ 4438650 w 7543800"/>
              <a:gd name="connsiteY36" fmla="*/ 209550 h 11582399"/>
              <a:gd name="connsiteX37" fmla="*/ 4476750 w 7543800"/>
              <a:gd name="connsiteY37" fmla="*/ 266700 h 11582399"/>
              <a:gd name="connsiteX38" fmla="*/ 4286250 w 7543800"/>
              <a:gd name="connsiteY38" fmla="*/ 285750 h 11582399"/>
              <a:gd name="connsiteX39" fmla="*/ 4305300 w 7543800"/>
              <a:gd name="connsiteY39" fmla="*/ 400050 h 11582399"/>
              <a:gd name="connsiteX40" fmla="*/ 5238750 w 7543800"/>
              <a:gd name="connsiteY40" fmla="*/ 381000 h 11582399"/>
              <a:gd name="connsiteX41" fmla="*/ 5448300 w 7543800"/>
              <a:gd name="connsiteY41" fmla="*/ 457200 h 11582399"/>
              <a:gd name="connsiteX42" fmla="*/ 5638800 w 7543800"/>
              <a:gd name="connsiteY42" fmla="*/ 876300 h 11582399"/>
              <a:gd name="connsiteX43" fmla="*/ 5810250 w 7543800"/>
              <a:gd name="connsiteY43" fmla="*/ 1581150 h 11582399"/>
              <a:gd name="connsiteX44" fmla="*/ 5924550 w 7543800"/>
              <a:gd name="connsiteY44" fmla="*/ 1733550 h 11582399"/>
              <a:gd name="connsiteX45" fmla="*/ 6076950 w 7543800"/>
              <a:gd name="connsiteY45" fmla="*/ 2019300 h 11582399"/>
              <a:gd name="connsiteX46" fmla="*/ 6324600 w 7543800"/>
              <a:gd name="connsiteY46" fmla="*/ 2057400 h 11582399"/>
              <a:gd name="connsiteX47" fmla="*/ 6267450 w 7543800"/>
              <a:gd name="connsiteY47" fmla="*/ 2209800 h 11582399"/>
              <a:gd name="connsiteX48" fmla="*/ 6267450 w 7543800"/>
              <a:gd name="connsiteY48" fmla="*/ 2209800 h 11582399"/>
              <a:gd name="connsiteX49" fmla="*/ 6362700 w 7543800"/>
              <a:gd name="connsiteY49" fmla="*/ 2495550 h 11582399"/>
              <a:gd name="connsiteX50" fmla="*/ 6477000 w 7543800"/>
              <a:gd name="connsiteY50" fmla="*/ 2609850 h 11582399"/>
              <a:gd name="connsiteX51" fmla="*/ 6610350 w 7543800"/>
              <a:gd name="connsiteY51" fmla="*/ 2762250 h 11582399"/>
              <a:gd name="connsiteX52" fmla="*/ 6667500 w 7543800"/>
              <a:gd name="connsiteY52" fmla="*/ 2914650 h 11582399"/>
              <a:gd name="connsiteX53" fmla="*/ 6610350 w 7543800"/>
              <a:gd name="connsiteY53" fmla="*/ 3124200 h 11582399"/>
              <a:gd name="connsiteX54" fmla="*/ 6381750 w 7543800"/>
              <a:gd name="connsiteY54" fmla="*/ 3333750 h 11582399"/>
              <a:gd name="connsiteX55" fmla="*/ 6286500 w 7543800"/>
              <a:gd name="connsiteY55" fmla="*/ 3505200 h 11582399"/>
              <a:gd name="connsiteX56" fmla="*/ 6305550 w 7543800"/>
              <a:gd name="connsiteY56" fmla="*/ 3676650 h 11582399"/>
              <a:gd name="connsiteX57" fmla="*/ 6477000 w 7543800"/>
              <a:gd name="connsiteY57" fmla="*/ 3867150 h 11582399"/>
              <a:gd name="connsiteX58" fmla="*/ 6572250 w 7543800"/>
              <a:gd name="connsiteY58" fmla="*/ 3981450 h 11582399"/>
              <a:gd name="connsiteX59" fmla="*/ 6591300 w 7543800"/>
              <a:gd name="connsiteY59" fmla="*/ 4191000 h 11582399"/>
              <a:gd name="connsiteX60" fmla="*/ 6343650 w 7543800"/>
              <a:gd name="connsiteY60" fmla="*/ 4210050 h 11582399"/>
              <a:gd name="connsiteX61" fmla="*/ 6305550 w 7543800"/>
              <a:gd name="connsiteY61" fmla="*/ 4629150 h 11582399"/>
              <a:gd name="connsiteX62" fmla="*/ 6305550 w 7543800"/>
              <a:gd name="connsiteY62" fmla="*/ 4629150 h 11582399"/>
              <a:gd name="connsiteX63" fmla="*/ 6515100 w 7543800"/>
              <a:gd name="connsiteY63" fmla="*/ 4857750 h 11582399"/>
              <a:gd name="connsiteX64" fmla="*/ 6553200 w 7543800"/>
              <a:gd name="connsiteY64" fmla="*/ 4933950 h 11582399"/>
              <a:gd name="connsiteX65" fmla="*/ 6419850 w 7543800"/>
              <a:gd name="connsiteY65" fmla="*/ 5124450 h 11582399"/>
              <a:gd name="connsiteX66" fmla="*/ 6191250 w 7543800"/>
              <a:gd name="connsiteY66" fmla="*/ 5257800 h 11582399"/>
              <a:gd name="connsiteX67" fmla="*/ 6096000 w 7543800"/>
              <a:gd name="connsiteY67" fmla="*/ 5391150 h 11582399"/>
              <a:gd name="connsiteX68" fmla="*/ 6096000 w 7543800"/>
              <a:gd name="connsiteY68" fmla="*/ 6172200 h 11582399"/>
              <a:gd name="connsiteX69" fmla="*/ 6096000 w 7543800"/>
              <a:gd name="connsiteY69" fmla="*/ 6343650 h 11582399"/>
              <a:gd name="connsiteX70" fmla="*/ 6019800 w 7543800"/>
              <a:gd name="connsiteY70" fmla="*/ 6572250 h 11582399"/>
              <a:gd name="connsiteX71" fmla="*/ 5924550 w 7543800"/>
              <a:gd name="connsiteY71" fmla="*/ 6819900 h 11582399"/>
              <a:gd name="connsiteX72" fmla="*/ 5867400 w 7543800"/>
              <a:gd name="connsiteY72" fmla="*/ 7048500 h 11582399"/>
              <a:gd name="connsiteX73" fmla="*/ 5867400 w 7543800"/>
              <a:gd name="connsiteY73" fmla="*/ 7296150 h 11582399"/>
              <a:gd name="connsiteX74" fmla="*/ 5810250 w 7543800"/>
              <a:gd name="connsiteY74" fmla="*/ 7962900 h 11582399"/>
              <a:gd name="connsiteX75" fmla="*/ 5524500 w 7543800"/>
              <a:gd name="connsiteY75" fmla="*/ 8477250 h 11582399"/>
              <a:gd name="connsiteX76" fmla="*/ 5162550 w 7543800"/>
              <a:gd name="connsiteY76" fmla="*/ 8953500 h 11582399"/>
              <a:gd name="connsiteX77" fmla="*/ 4972050 w 7543800"/>
              <a:gd name="connsiteY77" fmla="*/ 9315450 h 11582399"/>
              <a:gd name="connsiteX78" fmla="*/ 4667250 w 7543800"/>
              <a:gd name="connsiteY78" fmla="*/ 9886950 h 11582399"/>
              <a:gd name="connsiteX79" fmla="*/ 4114800 w 7543800"/>
              <a:gd name="connsiteY79" fmla="*/ 10687050 h 11582399"/>
              <a:gd name="connsiteX80" fmla="*/ 4000500 w 7543800"/>
              <a:gd name="connsiteY80" fmla="*/ 11258549 h 11582399"/>
              <a:gd name="connsiteX81" fmla="*/ 2038350 w 7543800"/>
              <a:gd name="connsiteY81" fmla="*/ 11582399 h 11582399"/>
              <a:gd name="connsiteX0" fmla="*/ 38100 w 7543800"/>
              <a:gd name="connsiteY0" fmla="*/ 8362950 h 11621215"/>
              <a:gd name="connsiteX1" fmla="*/ 38100 w 7543800"/>
              <a:gd name="connsiteY1" fmla="*/ 8362950 h 11621215"/>
              <a:gd name="connsiteX2" fmla="*/ 0 w 7543800"/>
              <a:gd name="connsiteY2" fmla="*/ 7524750 h 11621215"/>
              <a:gd name="connsiteX3" fmla="*/ 933450 w 7543800"/>
              <a:gd name="connsiteY3" fmla="*/ 7562850 h 11621215"/>
              <a:gd name="connsiteX4" fmla="*/ 971550 w 7543800"/>
              <a:gd name="connsiteY4" fmla="*/ 6705600 h 11621215"/>
              <a:gd name="connsiteX5" fmla="*/ 552450 w 7543800"/>
              <a:gd name="connsiteY5" fmla="*/ 6705600 h 11621215"/>
              <a:gd name="connsiteX6" fmla="*/ 571500 w 7543800"/>
              <a:gd name="connsiteY6" fmla="*/ 6496050 h 11621215"/>
              <a:gd name="connsiteX7" fmla="*/ 1257300 w 7543800"/>
              <a:gd name="connsiteY7" fmla="*/ 6572250 h 11621215"/>
              <a:gd name="connsiteX8" fmla="*/ 2628900 w 7543800"/>
              <a:gd name="connsiteY8" fmla="*/ 6629400 h 11621215"/>
              <a:gd name="connsiteX9" fmla="*/ 2590800 w 7543800"/>
              <a:gd name="connsiteY9" fmla="*/ 7448550 h 11621215"/>
              <a:gd name="connsiteX10" fmla="*/ 5295900 w 7543800"/>
              <a:gd name="connsiteY10" fmla="*/ 7620000 h 11621215"/>
              <a:gd name="connsiteX11" fmla="*/ 5867400 w 7543800"/>
              <a:gd name="connsiteY11" fmla="*/ 7181850 h 11621215"/>
              <a:gd name="connsiteX12" fmla="*/ 5886450 w 7543800"/>
              <a:gd name="connsiteY12" fmla="*/ 6915150 h 11621215"/>
              <a:gd name="connsiteX13" fmla="*/ 5962650 w 7543800"/>
              <a:gd name="connsiteY13" fmla="*/ 6686550 h 11621215"/>
              <a:gd name="connsiteX14" fmla="*/ 6057900 w 7543800"/>
              <a:gd name="connsiteY14" fmla="*/ 6515100 h 11621215"/>
              <a:gd name="connsiteX15" fmla="*/ 6076950 w 7543800"/>
              <a:gd name="connsiteY15" fmla="*/ 6172200 h 11621215"/>
              <a:gd name="connsiteX16" fmla="*/ 6057900 w 7543800"/>
              <a:gd name="connsiteY16" fmla="*/ 5695950 h 11621215"/>
              <a:gd name="connsiteX17" fmla="*/ 6096000 w 7543800"/>
              <a:gd name="connsiteY17" fmla="*/ 5391150 h 11621215"/>
              <a:gd name="connsiteX18" fmla="*/ 6267450 w 7543800"/>
              <a:gd name="connsiteY18" fmla="*/ 5219700 h 11621215"/>
              <a:gd name="connsiteX19" fmla="*/ 6457950 w 7543800"/>
              <a:gd name="connsiteY19" fmla="*/ 5067300 h 11621215"/>
              <a:gd name="connsiteX20" fmla="*/ 6553200 w 7543800"/>
              <a:gd name="connsiteY20" fmla="*/ 4933950 h 11621215"/>
              <a:gd name="connsiteX21" fmla="*/ 6496050 w 7543800"/>
              <a:gd name="connsiteY21" fmla="*/ 4781550 h 11621215"/>
              <a:gd name="connsiteX22" fmla="*/ 6343650 w 7543800"/>
              <a:gd name="connsiteY22" fmla="*/ 4648200 h 11621215"/>
              <a:gd name="connsiteX23" fmla="*/ 6343650 w 7543800"/>
              <a:gd name="connsiteY23" fmla="*/ 4648200 h 11621215"/>
              <a:gd name="connsiteX24" fmla="*/ 6343650 w 7543800"/>
              <a:gd name="connsiteY24" fmla="*/ 4210050 h 11621215"/>
              <a:gd name="connsiteX25" fmla="*/ 6610350 w 7543800"/>
              <a:gd name="connsiteY25" fmla="*/ 4210050 h 11621215"/>
              <a:gd name="connsiteX26" fmla="*/ 6686550 w 7543800"/>
              <a:gd name="connsiteY26" fmla="*/ 4438650 h 11621215"/>
              <a:gd name="connsiteX27" fmla="*/ 6724650 w 7543800"/>
              <a:gd name="connsiteY27" fmla="*/ 4629150 h 11621215"/>
              <a:gd name="connsiteX28" fmla="*/ 6781800 w 7543800"/>
              <a:gd name="connsiteY28" fmla="*/ 4895850 h 11621215"/>
              <a:gd name="connsiteX29" fmla="*/ 6724650 w 7543800"/>
              <a:gd name="connsiteY29" fmla="*/ 5067300 h 11621215"/>
              <a:gd name="connsiteX30" fmla="*/ 6991350 w 7543800"/>
              <a:gd name="connsiteY30" fmla="*/ 5314950 h 11621215"/>
              <a:gd name="connsiteX31" fmla="*/ 7543800 w 7543800"/>
              <a:gd name="connsiteY31" fmla="*/ 5467350 h 11621215"/>
              <a:gd name="connsiteX32" fmla="*/ 7258050 w 7543800"/>
              <a:gd name="connsiteY32" fmla="*/ 19050 h 11621215"/>
              <a:gd name="connsiteX33" fmla="*/ 6610350 w 7543800"/>
              <a:gd name="connsiteY33" fmla="*/ 0 h 11621215"/>
              <a:gd name="connsiteX34" fmla="*/ 6172200 w 7543800"/>
              <a:gd name="connsiteY34" fmla="*/ 0 h 11621215"/>
              <a:gd name="connsiteX35" fmla="*/ 5143500 w 7543800"/>
              <a:gd name="connsiteY35" fmla="*/ 190500 h 11621215"/>
              <a:gd name="connsiteX36" fmla="*/ 4438650 w 7543800"/>
              <a:gd name="connsiteY36" fmla="*/ 209550 h 11621215"/>
              <a:gd name="connsiteX37" fmla="*/ 4476750 w 7543800"/>
              <a:gd name="connsiteY37" fmla="*/ 266700 h 11621215"/>
              <a:gd name="connsiteX38" fmla="*/ 4286250 w 7543800"/>
              <a:gd name="connsiteY38" fmla="*/ 285750 h 11621215"/>
              <a:gd name="connsiteX39" fmla="*/ 4305300 w 7543800"/>
              <a:gd name="connsiteY39" fmla="*/ 400050 h 11621215"/>
              <a:gd name="connsiteX40" fmla="*/ 5238750 w 7543800"/>
              <a:gd name="connsiteY40" fmla="*/ 381000 h 11621215"/>
              <a:gd name="connsiteX41" fmla="*/ 5448300 w 7543800"/>
              <a:gd name="connsiteY41" fmla="*/ 457200 h 11621215"/>
              <a:gd name="connsiteX42" fmla="*/ 5638800 w 7543800"/>
              <a:gd name="connsiteY42" fmla="*/ 876300 h 11621215"/>
              <a:gd name="connsiteX43" fmla="*/ 5810250 w 7543800"/>
              <a:gd name="connsiteY43" fmla="*/ 1581150 h 11621215"/>
              <a:gd name="connsiteX44" fmla="*/ 5924550 w 7543800"/>
              <a:gd name="connsiteY44" fmla="*/ 1733550 h 11621215"/>
              <a:gd name="connsiteX45" fmla="*/ 6076950 w 7543800"/>
              <a:gd name="connsiteY45" fmla="*/ 2019300 h 11621215"/>
              <a:gd name="connsiteX46" fmla="*/ 6324600 w 7543800"/>
              <a:gd name="connsiteY46" fmla="*/ 2057400 h 11621215"/>
              <a:gd name="connsiteX47" fmla="*/ 6267450 w 7543800"/>
              <a:gd name="connsiteY47" fmla="*/ 2209800 h 11621215"/>
              <a:gd name="connsiteX48" fmla="*/ 6267450 w 7543800"/>
              <a:gd name="connsiteY48" fmla="*/ 2209800 h 11621215"/>
              <a:gd name="connsiteX49" fmla="*/ 6362700 w 7543800"/>
              <a:gd name="connsiteY49" fmla="*/ 2495550 h 11621215"/>
              <a:gd name="connsiteX50" fmla="*/ 6477000 w 7543800"/>
              <a:gd name="connsiteY50" fmla="*/ 2609850 h 11621215"/>
              <a:gd name="connsiteX51" fmla="*/ 6610350 w 7543800"/>
              <a:gd name="connsiteY51" fmla="*/ 2762250 h 11621215"/>
              <a:gd name="connsiteX52" fmla="*/ 6667500 w 7543800"/>
              <a:gd name="connsiteY52" fmla="*/ 2914650 h 11621215"/>
              <a:gd name="connsiteX53" fmla="*/ 6610350 w 7543800"/>
              <a:gd name="connsiteY53" fmla="*/ 3124200 h 11621215"/>
              <a:gd name="connsiteX54" fmla="*/ 6381750 w 7543800"/>
              <a:gd name="connsiteY54" fmla="*/ 3333750 h 11621215"/>
              <a:gd name="connsiteX55" fmla="*/ 6286500 w 7543800"/>
              <a:gd name="connsiteY55" fmla="*/ 3505200 h 11621215"/>
              <a:gd name="connsiteX56" fmla="*/ 6305550 w 7543800"/>
              <a:gd name="connsiteY56" fmla="*/ 3676650 h 11621215"/>
              <a:gd name="connsiteX57" fmla="*/ 6477000 w 7543800"/>
              <a:gd name="connsiteY57" fmla="*/ 3867150 h 11621215"/>
              <a:gd name="connsiteX58" fmla="*/ 6572250 w 7543800"/>
              <a:gd name="connsiteY58" fmla="*/ 3981450 h 11621215"/>
              <a:gd name="connsiteX59" fmla="*/ 6591300 w 7543800"/>
              <a:gd name="connsiteY59" fmla="*/ 4191000 h 11621215"/>
              <a:gd name="connsiteX60" fmla="*/ 6343650 w 7543800"/>
              <a:gd name="connsiteY60" fmla="*/ 4210050 h 11621215"/>
              <a:gd name="connsiteX61" fmla="*/ 6305550 w 7543800"/>
              <a:gd name="connsiteY61" fmla="*/ 4629150 h 11621215"/>
              <a:gd name="connsiteX62" fmla="*/ 6305550 w 7543800"/>
              <a:gd name="connsiteY62" fmla="*/ 4629150 h 11621215"/>
              <a:gd name="connsiteX63" fmla="*/ 6515100 w 7543800"/>
              <a:gd name="connsiteY63" fmla="*/ 4857750 h 11621215"/>
              <a:gd name="connsiteX64" fmla="*/ 6553200 w 7543800"/>
              <a:gd name="connsiteY64" fmla="*/ 4933950 h 11621215"/>
              <a:gd name="connsiteX65" fmla="*/ 6419850 w 7543800"/>
              <a:gd name="connsiteY65" fmla="*/ 5124450 h 11621215"/>
              <a:gd name="connsiteX66" fmla="*/ 6191250 w 7543800"/>
              <a:gd name="connsiteY66" fmla="*/ 5257800 h 11621215"/>
              <a:gd name="connsiteX67" fmla="*/ 6096000 w 7543800"/>
              <a:gd name="connsiteY67" fmla="*/ 5391150 h 11621215"/>
              <a:gd name="connsiteX68" fmla="*/ 6096000 w 7543800"/>
              <a:gd name="connsiteY68" fmla="*/ 6172200 h 11621215"/>
              <a:gd name="connsiteX69" fmla="*/ 6096000 w 7543800"/>
              <a:gd name="connsiteY69" fmla="*/ 6343650 h 11621215"/>
              <a:gd name="connsiteX70" fmla="*/ 6019800 w 7543800"/>
              <a:gd name="connsiteY70" fmla="*/ 6572250 h 11621215"/>
              <a:gd name="connsiteX71" fmla="*/ 5924550 w 7543800"/>
              <a:gd name="connsiteY71" fmla="*/ 6819900 h 11621215"/>
              <a:gd name="connsiteX72" fmla="*/ 5867400 w 7543800"/>
              <a:gd name="connsiteY72" fmla="*/ 7048500 h 11621215"/>
              <a:gd name="connsiteX73" fmla="*/ 5867400 w 7543800"/>
              <a:gd name="connsiteY73" fmla="*/ 7296150 h 11621215"/>
              <a:gd name="connsiteX74" fmla="*/ 5810250 w 7543800"/>
              <a:gd name="connsiteY74" fmla="*/ 7962900 h 11621215"/>
              <a:gd name="connsiteX75" fmla="*/ 5524500 w 7543800"/>
              <a:gd name="connsiteY75" fmla="*/ 8477250 h 11621215"/>
              <a:gd name="connsiteX76" fmla="*/ 5162550 w 7543800"/>
              <a:gd name="connsiteY76" fmla="*/ 8953500 h 11621215"/>
              <a:gd name="connsiteX77" fmla="*/ 4972050 w 7543800"/>
              <a:gd name="connsiteY77" fmla="*/ 9315450 h 11621215"/>
              <a:gd name="connsiteX78" fmla="*/ 4667250 w 7543800"/>
              <a:gd name="connsiteY78" fmla="*/ 9886950 h 11621215"/>
              <a:gd name="connsiteX79" fmla="*/ 4114800 w 7543800"/>
              <a:gd name="connsiteY79" fmla="*/ 10687050 h 11621215"/>
              <a:gd name="connsiteX80" fmla="*/ 4000500 w 7543800"/>
              <a:gd name="connsiteY80" fmla="*/ 11258549 h 11621215"/>
              <a:gd name="connsiteX81" fmla="*/ 2038350 w 7543800"/>
              <a:gd name="connsiteY81" fmla="*/ 11582399 h 11621215"/>
              <a:gd name="connsiteX82" fmla="*/ 2038350 w 7543800"/>
              <a:gd name="connsiteY82" fmla="*/ 11620499 h 11621215"/>
              <a:gd name="connsiteX0" fmla="*/ 171450 w 7677150"/>
              <a:gd name="connsiteY0" fmla="*/ 8362950 h 11588200"/>
              <a:gd name="connsiteX1" fmla="*/ 171450 w 7677150"/>
              <a:gd name="connsiteY1" fmla="*/ 8362950 h 11588200"/>
              <a:gd name="connsiteX2" fmla="*/ 133350 w 7677150"/>
              <a:gd name="connsiteY2" fmla="*/ 7524750 h 11588200"/>
              <a:gd name="connsiteX3" fmla="*/ 1066800 w 7677150"/>
              <a:gd name="connsiteY3" fmla="*/ 7562850 h 11588200"/>
              <a:gd name="connsiteX4" fmla="*/ 1104900 w 7677150"/>
              <a:gd name="connsiteY4" fmla="*/ 6705600 h 11588200"/>
              <a:gd name="connsiteX5" fmla="*/ 685800 w 7677150"/>
              <a:gd name="connsiteY5" fmla="*/ 6705600 h 11588200"/>
              <a:gd name="connsiteX6" fmla="*/ 704850 w 7677150"/>
              <a:gd name="connsiteY6" fmla="*/ 6496050 h 11588200"/>
              <a:gd name="connsiteX7" fmla="*/ 1390650 w 7677150"/>
              <a:gd name="connsiteY7" fmla="*/ 6572250 h 11588200"/>
              <a:gd name="connsiteX8" fmla="*/ 2762250 w 7677150"/>
              <a:gd name="connsiteY8" fmla="*/ 6629400 h 11588200"/>
              <a:gd name="connsiteX9" fmla="*/ 2724150 w 7677150"/>
              <a:gd name="connsiteY9" fmla="*/ 7448550 h 11588200"/>
              <a:gd name="connsiteX10" fmla="*/ 5429250 w 7677150"/>
              <a:gd name="connsiteY10" fmla="*/ 7620000 h 11588200"/>
              <a:gd name="connsiteX11" fmla="*/ 6000750 w 7677150"/>
              <a:gd name="connsiteY11" fmla="*/ 7181850 h 11588200"/>
              <a:gd name="connsiteX12" fmla="*/ 6019800 w 7677150"/>
              <a:gd name="connsiteY12" fmla="*/ 6915150 h 11588200"/>
              <a:gd name="connsiteX13" fmla="*/ 6096000 w 7677150"/>
              <a:gd name="connsiteY13" fmla="*/ 6686550 h 11588200"/>
              <a:gd name="connsiteX14" fmla="*/ 6191250 w 7677150"/>
              <a:gd name="connsiteY14" fmla="*/ 6515100 h 11588200"/>
              <a:gd name="connsiteX15" fmla="*/ 6210300 w 7677150"/>
              <a:gd name="connsiteY15" fmla="*/ 6172200 h 11588200"/>
              <a:gd name="connsiteX16" fmla="*/ 6191250 w 7677150"/>
              <a:gd name="connsiteY16" fmla="*/ 5695950 h 11588200"/>
              <a:gd name="connsiteX17" fmla="*/ 6229350 w 7677150"/>
              <a:gd name="connsiteY17" fmla="*/ 5391150 h 11588200"/>
              <a:gd name="connsiteX18" fmla="*/ 6400800 w 7677150"/>
              <a:gd name="connsiteY18" fmla="*/ 5219700 h 11588200"/>
              <a:gd name="connsiteX19" fmla="*/ 6591300 w 7677150"/>
              <a:gd name="connsiteY19" fmla="*/ 5067300 h 11588200"/>
              <a:gd name="connsiteX20" fmla="*/ 6686550 w 7677150"/>
              <a:gd name="connsiteY20" fmla="*/ 4933950 h 11588200"/>
              <a:gd name="connsiteX21" fmla="*/ 6629400 w 7677150"/>
              <a:gd name="connsiteY21" fmla="*/ 4781550 h 11588200"/>
              <a:gd name="connsiteX22" fmla="*/ 6477000 w 7677150"/>
              <a:gd name="connsiteY22" fmla="*/ 4648200 h 11588200"/>
              <a:gd name="connsiteX23" fmla="*/ 6477000 w 7677150"/>
              <a:gd name="connsiteY23" fmla="*/ 4648200 h 11588200"/>
              <a:gd name="connsiteX24" fmla="*/ 6477000 w 7677150"/>
              <a:gd name="connsiteY24" fmla="*/ 4210050 h 11588200"/>
              <a:gd name="connsiteX25" fmla="*/ 6743700 w 7677150"/>
              <a:gd name="connsiteY25" fmla="*/ 4210050 h 11588200"/>
              <a:gd name="connsiteX26" fmla="*/ 6819900 w 7677150"/>
              <a:gd name="connsiteY26" fmla="*/ 4438650 h 11588200"/>
              <a:gd name="connsiteX27" fmla="*/ 6858000 w 7677150"/>
              <a:gd name="connsiteY27" fmla="*/ 4629150 h 11588200"/>
              <a:gd name="connsiteX28" fmla="*/ 6915150 w 7677150"/>
              <a:gd name="connsiteY28" fmla="*/ 4895850 h 11588200"/>
              <a:gd name="connsiteX29" fmla="*/ 6858000 w 7677150"/>
              <a:gd name="connsiteY29" fmla="*/ 5067300 h 11588200"/>
              <a:gd name="connsiteX30" fmla="*/ 7124700 w 7677150"/>
              <a:gd name="connsiteY30" fmla="*/ 5314950 h 11588200"/>
              <a:gd name="connsiteX31" fmla="*/ 7677150 w 7677150"/>
              <a:gd name="connsiteY31" fmla="*/ 5467350 h 11588200"/>
              <a:gd name="connsiteX32" fmla="*/ 7391400 w 7677150"/>
              <a:gd name="connsiteY32" fmla="*/ 19050 h 11588200"/>
              <a:gd name="connsiteX33" fmla="*/ 6743700 w 7677150"/>
              <a:gd name="connsiteY33" fmla="*/ 0 h 11588200"/>
              <a:gd name="connsiteX34" fmla="*/ 6305550 w 7677150"/>
              <a:gd name="connsiteY34" fmla="*/ 0 h 11588200"/>
              <a:gd name="connsiteX35" fmla="*/ 5276850 w 7677150"/>
              <a:gd name="connsiteY35" fmla="*/ 190500 h 11588200"/>
              <a:gd name="connsiteX36" fmla="*/ 4572000 w 7677150"/>
              <a:gd name="connsiteY36" fmla="*/ 209550 h 11588200"/>
              <a:gd name="connsiteX37" fmla="*/ 4610100 w 7677150"/>
              <a:gd name="connsiteY37" fmla="*/ 266700 h 11588200"/>
              <a:gd name="connsiteX38" fmla="*/ 4419600 w 7677150"/>
              <a:gd name="connsiteY38" fmla="*/ 285750 h 11588200"/>
              <a:gd name="connsiteX39" fmla="*/ 4438650 w 7677150"/>
              <a:gd name="connsiteY39" fmla="*/ 400050 h 11588200"/>
              <a:gd name="connsiteX40" fmla="*/ 5372100 w 7677150"/>
              <a:gd name="connsiteY40" fmla="*/ 381000 h 11588200"/>
              <a:gd name="connsiteX41" fmla="*/ 5581650 w 7677150"/>
              <a:gd name="connsiteY41" fmla="*/ 457200 h 11588200"/>
              <a:gd name="connsiteX42" fmla="*/ 5772150 w 7677150"/>
              <a:gd name="connsiteY42" fmla="*/ 876300 h 11588200"/>
              <a:gd name="connsiteX43" fmla="*/ 5943600 w 7677150"/>
              <a:gd name="connsiteY43" fmla="*/ 1581150 h 11588200"/>
              <a:gd name="connsiteX44" fmla="*/ 6057900 w 7677150"/>
              <a:gd name="connsiteY44" fmla="*/ 1733550 h 11588200"/>
              <a:gd name="connsiteX45" fmla="*/ 6210300 w 7677150"/>
              <a:gd name="connsiteY45" fmla="*/ 2019300 h 11588200"/>
              <a:gd name="connsiteX46" fmla="*/ 6457950 w 7677150"/>
              <a:gd name="connsiteY46" fmla="*/ 2057400 h 11588200"/>
              <a:gd name="connsiteX47" fmla="*/ 6400800 w 7677150"/>
              <a:gd name="connsiteY47" fmla="*/ 2209800 h 11588200"/>
              <a:gd name="connsiteX48" fmla="*/ 6400800 w 7677150"/>
              <a:gd name="connsiteY48" fmla="*/ 2209800 h 11588200"/>
              <a:gd name="connsiteX49" fmla="*/ 6496050 w 7677150"/>
              <a:gd name="connsiteY49" fmla="*/ 2495550 h 11588200"/>
              <a:gd name="connsiteX50" fmla="*/ 6610350 w 7677150"/>
              <a:gd name="connsiteY50" fmla="*/ 2609850 h 11588200"/>
              <a:gd name="connsiteX51" fmla="*/ 6743700 w 7677150"/>
              <a:gd name="connsiteY51" fmla="*/ 2762250 h 11588200"/>
              <a:gd name="connsiteX52" fmla="*/ 6800850 w 7677150"/>
              <a:gd name="connsiteY52" fmla="*/ 2914650 h 11588200"/>
              <a:gd name="connsiteX53" fmla="*/ 6743700 w 7677150"/>
              <a:gd name="connsiteY53" fmla="*/ 3124200 h 11588200"/>
              <a:gd name="connsiteX54" fmla="*/ 6515100 w 7677150"/>
              <a:gd name="connsiteY54" fmla="*/ 3333750 h 11588200"/>
              <a:gd name="connsiteX55" fmla="*/ 6419850 w 7677150"/>
              <a:gd name="connsiteY55" fmla="*/ 3505200 h 11588200"/>
              <a:gd name="connsiteX56" fmla="*/ 6438900 w 7677150"/>
              <a:gd name="connsiteY56" fmla="*/ 3676650 h 11588200"/>
              <a:gd name="connsiteX57" fmla="*/ 6610350 w 7677150"/>
              <a:gd name="connsiteY57" fmla="*/ 3867150 h 11588200"/>
              <a:gd name="connsiteX58" fmla="*/ 6705600 w 7677150"/>
              <a:gd name="connsiteY58" fmla="*/ 3981450 h 11588200"/>
              <a:gd name="connsiteX59" fmla="*/ 6724650 w 7677150"/>
              <a:gd name="connsiteY59" fmla="*/ 4191000 h 11588200"/>
              <a:gd name="connsiteX60" fmla="*/ 6477000 w 7677150"/>
              <a:gd name="connsiteY60" fmla="*/ 4210050 h 11588200"/>
              <a:gd name="connsiteX61" fmla="*/ 6438900 w 7677150"/>
              <a:gd name="connsiteY61" fmla="*/ 4629150 h 11588200"/>
              <a:gd name="connsiteX62" fmla="*/ 6438900 w 7677150"/>
              <a:gd name="connsiteY62" fmla="*/ 4629150 h 11588200"/>
              <a:gd name="connsiteX63" fmla="*/ 6648450 w 7677150"/>
              <a:gd name="connsiteY63" fmla="*/ 4857750 h 11588200"/>
              <a:gd name="connsiteX64" fmla="*/ 6686550 w 7677150"/>
              <a:gd name="connsiteY64" fmla="*/ 4933950 h 11588200"/>
              <a:gd name="connsiteX65" fmla="*/ 6553200 w 7677150"/>
              <a:gd name="connsiteY65" fmla="*/ 5124450 h 11588200"/>
              <a:gd name="connsiteX66" fmla="*/ 6324600 w 7677150"/>
              <a:gd name="connsiteY66" fmla="*/ 5257800 h 11588200"/>
              <a:gd name="connsiteX67" fmla="*/ 6229350 w 7677150"/>
              <a:gd name="connsiteY67" fmla="*/ 5391150 h 11588200"/>
              <a:gd name="connsiteX68" fmla="*/ 6229350 w 7677150"/>
              <a:gd name="connsiteY68" fmla="*/ 6172200 h 11588200"/>
              <a:gd name="connsiteX69" fmla="*/ 6229350 w 7677150"/>
              <a:gd name="connsiteY69" fmla="*/ 6343650 h 11588200"/>
              <a:gd name="connsiteX70" fmla="*/ 6153150 w 7677150"/>
              <a:gd name="connsiteY70" fmla="*/ 6572250 h 11588200"/>
              <a:gd name="connsiteX71" fmla="*/ 6057900 w 7677150"/>
              <a:gd name="connsiteY71" fmla="*/ 6819900 h 11588200"/>
              <a:gd name="connsiteX72" fmla="*/ 6000750 w 7677150"/>
              <a:gd name="connsiteY72" fmla="*/ 7048500 h 11588200"/>
              <a:gd name="connsiteX73" fmla="*/ 6000750 w 7677150"/>
              <a:gd name="connsiteY73" fmla="*/ 7296150 h 11588200"/>
              <a:gd name="connsiteX74" fmla="*/ 5943600 w 7677150"/>
              <a:gd name="connsiteY74" fmla="*/ 7962900 h 11588200"/>
              <a:gd name="connsiteX75" fmla="*/ 5657850 w 7677150"/>
              <a:gd name="connsiteY75" fmla="*/ 8477250 h 11588200"/>
              <a:gd name="connsiteX76" fmla="*/ 5295900 w 7677150"/>
              <a:gd name="connsiteY76" fmla="*/ 8953500 h 11588200"/>
              <a:gd name="connsiteX77" fmla="*/ 5105400 w 7677150"/>
              <a:gd name="connsiteY77" fmla="*/ 9315450 h 11588200"/>
              <a:gd name="connsiteX78" fmla="*/ 4800600 w 7677150"/>
              <a:gd name="connsiteY78" fmla="*/ 9886950 h 11588200"/>
              <a:gd name="connsiteX79" fmla="*/ 4248150 w 7677150"/>
              <a:gd name="connsiteY79" fmla="*/ 10687050 h 11588200"/>
              <a:gd name="connsiteX80" fmla="*/ 4133850 w 7677150"/>
              <a:gd name="connsiteY80" fmla="*/ 11258549 h 11588200"/>
              <a:gd name="connsiteX81" fmla="*/ 2171700 w 7677150"/>
              <a:gd name="connsiteY81" fmla="*/ 11582399 h 11588200"/>
              <a:gd name="connsiteX82" fmla="*/ 0 w 7677150"/>
              <a:gd name="connsiteY82" fmla="*/ 11220449 h 11588200"/>
              <a:gd name="connsiteX0" fmla="*/ 171450 w 7677150"/>
              <a:gd name="connsiteY0" fmla="*/ 8362950 h 11588200"/>
              <a:gd name="connsiteX1" fmla="*/ 171450 w 7677150"/>
              <a:gd name="connsiteY1" fmla="*/ 8362950 h 11588200"/>
              <a:gd name="connsiteX2" fmla="*/ 133350 w 7677150"/>
              <a:gd name="connsiteY2" fmla="*/ 7524750 h 11588200"/>
              <a:gd name="connsiteX3" fmla="*/ 1066800 w 7677150"/>
              <a:gd name="connsiteY3" fmla="*/ 7562850 h 11588200"/>
              <a:gd name="connsiteX4" fmla="*/ 1104900 w 7677150"/>
              <a:gd name="connsiteY4" fmla="*/ 6705600 h 11588200"/>
              <a:gd name="connsiteX5" fmla="*/ 685800 w 7677150"/>
              <a:gd name="connsiteY5" fmla="*/ 6705600 h 11588200"/>
              <a:gd name="connsiteX6" fmla="*/ 704850 w 7677150"/>
              <a:gd name="connsiteY6" fmla="*/ 6496050 h 11588200"/>
              <a:gd name="connsiteX7" fmla="*/ 1390650 w 7677150"/>
              <a:gd name="connsiteY7" fmla="*/ 6572250 h 11588200"/>
              <a:gd name="connsiteX8" fmla="*/ 2762250 w 7677150"/>
              <a:gd name="connsiteY8" fmla="*/ 6629400 h 11588200"/>
              <a:gd name="connsiteX9" fmla="*/ 2724150 w 7677150"/>
              <a:gd name="connsiteY9" fmla="*/ 7448550 h 11588200"/>
              <a:gd name="connsiteX10" fmla="*/ 5429250 w 7677150"/>
              <a:gd name="connsiteY10" fmla="*/ 7620000 h 11588200"/>
              <a:gd name="connsiteX11" fmla="*/ 6000750 w 7677150"/>
              <a:gd name="connsiteY11" fmla="*/ 7181850 h 11588200"/>
              <a:gd name="connsiteX12" fmla="*/ 6019800 w 7677150"/>
              <a:gd name="connsiteY12" fmla="*/ 6915150 h 11588200"/>
              <a:gd name="connsiteX13" fmla="*/ 6096000 w 7677150"/>
              <a:gd name="connsiteY13" fmla="*/ 6686550 h 11588200"/>
              <a:gd name="connsiteX14" fmla="*/ 6191250 w 7677150"/>
              <a:gd name="connsiteY14" fmla="*/ 6515100 h 11588200"/>
              <a:gd name="connsiteX15" fmla="*/ 6210300 w 7677150"/>
              <a:gd name="connsiteY15" fmla="*/ 6172200 h 11588200"/>
              <a:gd name="connsiteX16" fmla="*/ 6191250 w 7677150"/>
              <a:gd name="connsiteY16" fmla="*/ 5695950 h 11588200"/>
              <a:gd name="connsiteX17" fmla="*/ 6229350 w 7677150"/>
              <a:gd name="connsiteY17" fmla="*/ 5391150 h 11588200"/>
              <a:gd name="connsiteX18" fmla="*/ 6400800 w 7677150"/>
              <a:gd name="connsiteY18" fmla="*/ 5219700 h 11588200"/>
              <a:gd name="connsiteX19" fmla="*/ 6591300 w 7677150"/>
              <a:gd name="connsiteY19" fmla="*/ 5067300 h 11588200"/>
              <a:gd name="connsiteX20" fmla="*/ 6686550 w 7677150"/>
              <a:gd name="connsiteY20" fmla="*/ 4933950 h 11588200"/>
              <a:gd name="connsiteX21" fmla="*/ 6629400 w 7677150"/>
              <a:gd name="connsiteY21" fmla="*/ 4781550 h 11588200"/>
              <a:gd name="connsiteX22" fmla="*/ 6477000 w 7677150"/>
              <a:gd name="connsiteY22" fmla="*/ 4648200 h 11588200"/>
              <a:gd name="connsiteX23" fmla="*/ 6477000 w 7677150"/>
              <a:gd name="connsiteY23" fmla="*/ 4648200 h 11588200"/>
              <a:gd name="connsiteX24" fmla="*/ 6477000 w 7677150"/>
              <a:gd name="connsiteY24" fmla="*/ 4210050 h 11588200"/>
              <a:gd name="connsiteX25" fmla="*/ 6743700 w 7677150"/>
              <a:gd name="connsiteY25" fmla="*/ 4210050 h 11588200"/>
              <a:gd name="connsiteX26" fmla="*/ 6819900 w 7677150"/>
              <a:gd name="connsiteY26" fmla="*/ 4438650 h 11588200"/>
              <a:gd name="connsiteX27" fmla="*/ 6858000 w 7677150"/>
              <a:gd name="connsiteY27" fmla="*/ 4629150 h 11588200"/>
              <a:gd name="connsiteX28" fmla="*/ 6915150 w 7677150"/>
              <a:gd name="connsiteY28" fmla="*/ 4895850 h 11588200"/>
              <a:gd name="connsiteX29" fmla="*/ 6858000 w 7677150"/>
              <a:gd name="connsiteY29" fmla="*/ 5067300 h 11588200"/>
              <a:gd name="connsiteX30" fmla="*/ 7124700 w 7677150"/>
              <a:gd name="connsiteY30" fmla="*/ 5314950 h 11588200"/>
              <a:gd name="connsiteX31" fmla="*/ 7677150 w 7677150"/>
              <a:gd name="connsiteY31" fmla="*/ 5467350 h 11588200"/>
              <a:gd name="connsiteX32" fmla="*/ 7391400 w 7677150"/>
              <a:gd name="connsiteY32" fmla="*/ 19050 h 11588200"/>
              <a:gd name="connsiteX33" fmla="*/ 6743700 w 7677150"/>
              <a:gd name="connsiteY33" fmla="*/ 0 h 11588200"/>
              <a:gd name="connsiteX34" fmla="*/ 6305550 w 7677150"/>
              <a:gd name="connsiteY34" fmla="*/ 0 h 11588200"/>
              <a:gd name="connsiteX35" fmla="*/ 5276850 w 7677150"/>
              <a:gd name="connsiteY35" fmla="*/ 190500 h 11588200"/>
              <a:gd name="connsiteX36" fmla="*/ 4572000 w 7677150"/>
              <a:gd name="connsiteY36" fmla="*/ 209550 h 11588200"/>
              <a:gd name="connsiteX37" fmla="*/ 4610100 w 7677150"/>
              <a:gd name="connsiteY37" fmla="*/ 266700 h 11588200"/>
              <a:gd name="connsiteX38" fmla="*/ 4419600 w 7677150"/>
              <a:gd name="connsiteY38" fmla="*/ 285750 h 11588200"/>
              <a:gd name="connsiteX39" fmla="*/ 4438650 w 7677150"/>
              <a:gd name="connsiteY39" fmla="*/ 400050 h 11588200"/>
              <a:gd name="connsiteX40" fmla="*/ 5372100 w 7677150"/>
              <a:gd name="connsiteY40" fmla="*/ 381000 h 11588200"/>
              <a:gd name="connsiteX41" fmla="*/ 5581650 w 7677150"/>
              <a:gd name="connsiteY41" fmla="*/ 457200 h 11588200"/>
              <a:gd name="connsiteX42" fmla="*/ 5772150 w 7677150"/>
              <a:gd name="connsiteY42" fmla="*/ 876300 h 11588200"/>
              <a:gd name="connsiteX43" fmla="*/ 5943600 w 7677150"/>
              <a:gd name="connsiteY43" fmla="*/ 1581150 h 11588200"/>
              <a:gd name="connsiteX44" fmla="*/ 6057900 w 7677150"/>
              <a:gd name="connsiteY44" fmla="*/ 1733550 h 11588200"/>
              <a:gd name="connsiteX45" fmla="*/ 6210300 w 7677150"/>
              <a:gd name="connsiteY45" fmla="*/ 2019300 h 11588200"/>
              <a:gd name="connsiteX46" fmla="*/ 6457950 w 7677150"/>
              <a:gd name="connsiteY46" fmla="*/ 2057400 h 11588200"/>
              <a:gd name="connsiteX47" fmla="*/ 6400800 w 7677150"/>
              <a:gd name="connsiteY47" fmla="*/ 2209800 h 11588200"/>
              <a:gd name="connsiteX48" fmla="*/ 6400800 w 7677150"/>
              <a:gd name="connsiteY48" fmla="*/ 2209800 h 11588200"/>
              <a:gd name="connsiteX49" fmla="*/ 6496050 w 7677150"/>
              <a:gd name="connsiteY49" fmla="*/ 2495550 h 11588200"/>
              <a:gd name="connsiteX50" fmla="*/ 6610350 w 7677150"/>
              <a:gd name="connsiteY50" fmla="*/ 2609850 h 11588200"/>
              <a:gd name="connsiteX51" fmla="*/ 6743700 w 7677150"/>
              <a:gd name="connsiteY51" fmla="*/ 2762250 h 11588200"/>
              <a:gd name="connsiteX52" fmla="*/ 6800850 w 7677150"/>
              <a:gd name="connsiteY52" fmla="*/ 2914650 h 11588200"/>
              <a:gd name="connsiteX53" fmla="*/ 6743700 w 7677150"/>
              <a:gd name="connsiteY53" fmla="*/ 3124200 h 11588200"/>
              <a:gd name="connsiteX54" fmla="*/ 6515100 w 7677150"/>
              <a:gd name="connsiteY54" fmla="*/ 3333750 h 11588200"/>
              <a:gd name="connsiteX55" fmla="*/ 6419850 w 7677150"/>
              <a:gd name="connsiteY55" fmla="*/ 3505200 h 11588200"/>
              <a:gd name="connsiteX56" fmla="*/ 6438900 w 7677150"/>
              <a:gd name="connsiteY56" fmla="*/ 3676650 h 11588200"/>
              <a:gd name="connsiteX57" fmla="*/ 6610350 w 7677150"/>
              <a:gd name="connsiteY57" fmla="*/ 3867150 h 11588200"/>
              <a:gd name="connsiteX58" fmla="*/ 6705600 w 7677150"/>
              <a:gd name="connsiteY58" fmla="*/ 3981450 h 11588200"/>
              <a:gd name="connsiteX59" fmla="*/ 6724650 w 7677150"/>
              <a:gd name="connsiteY59" fmla="*/ 4191000 h 11588200"/>
              <a:gd name="connsiteX60" fmla="*/ 6477000 w 7677150"/>
              <a:gd name="connsiteY60" fmla="*/ 4210050 h 11588200"/>
              <a:gd name="connsiteX61" fmla="*/ 6438900 w 7677150"/>
              <a:gd name="connsiteY61" fmla="*/ 4629150 h 11588200"/>
              <a:gd name="connsiteX62" fmla="*/ 6438900 w 7677150"/>
              <a:gd name="connsiteY62" fmla="*/ 4629150 h 11588200"/>
              <a:gd name="connsiteX63" fmla="*/ 6648450 w 7677150"/>
              <a:gd name="connsiteY63" fmla="*/ 4857750 h 11588200"/>
              <a:gd name="connsiteX64" fmla="*/ 6686550 w 7677150"/>
              <a:gd name="connsiteY64" fmla="*/ 4933950 h 11588200"/>
              <a:gd name="connsiteX65" fmla="*/ 6553200 w 7677150"/>
              <a:gd name="connsiteY65" fmla="*/ 5124450 h 11588200"/>
              <a:gd name="connsiteX66" fmla="*/ 6324600 w 7677150"/>
              <a:gd name="connsiteY66" fmla="*/ 5257800 h 11588200"/>
              <a:gd name="connsiteX67" fmla="*/ 6229350 w 7677150"/>
              <a:gd name="connsiteY67" fmla="*/ 5391150 h 11588200"/>
              <a:gd name="connsiteX68" fmla="*/ 6229350 w 7677150"/>
              <a:gd name="connsiteY68" fmla="*/ 6172200 h 11588200"/>
              <a:gd name="connsiteX69" fmla="*/ 6229350 w 7677150"/>
              <a:gd name="connsiteY69" fmla="*/ 6343650 h 11588200"/>
              <a:gd name="connsiteX70" fmla="*/ 6153150 w 7677150"/>
              <a:gd name="connsiteY70" fmla="*/ 6572250 h 11588200"/>
              <a:gd name="connsiteX71" fmla="*/ 6057900 w 7677150"/>
              <a:gd name="connsiteY71" fmla="*/ 6819900 h 11588200"/>
              <a:gd name="connsiteX72" fmla="*/ 6000750 w 7677150"/>
              <a:gd name="connsiteY72" fmla="*/ 7048500 h 11588200"/>
              <a:gd name="connsiteX73" fmla="*/ 6000750 w 7677150"/>
              <a:gd name="connsiteY73" fmla="*/ 7296150 h 11588200"/>
              <a:gd name="connsiteX74" fmla="*/ 5943600 w 7677150"/>
              <a:gd name="connsiteY74" fmla="*/ 7962900 h 11588200"/>
              <a:gd name="connsiteX75" fmla="*/ 5657850 w 7677150"/>
              <a:gd name="connsiteY75" fmla="*/ 8477250 h 11588200"/>
              <a:gd name="connsiteX76" fmla="*/ 5295900 w 7677150"/>
              <a:gd name="connsiteY76" fmla="*/ 8953500 h 11588200"/>
              <a:gd name="connsiteX77" fmla="*/ 5105400 w 7677150"/>
              <a:gd name="connsiteY77" fmla="*/ 9315450 h 11588200"/>
              <a:gd name="connsiteX78" fmla="*/ 4800600 w 7677150"/>
              <a:gd name="connsiteY78" fmla="*/ 9886950 h 11588200"/>
              <a:gd name="connsiteX79" fmla="*/ 4248150 w 7677150"/>
              <a:gd name="connsiteY79" fmla="*/ 10687050 h 11588200"/>
              <a:gd name="connsiteX80" fmla="*/ 4133850 w 7677150"/>
              <a:gd name="connsiteY80" fmla="*/ 11258549 h 11588200"/>
              <a:gd name="connsiteX81" fmla="*/ 2171700 w 7677150"/>
              <a:gd name="connsiteY81" fmla="*/ 11582399 h 11588200"/>
              <a:gd name="connsiteX82" fmla="*/ 0 w 7677150"/>
              <a:gd name="connsiteY82" fmla="*/ 11220449 h 11588200"/>
              <a:gd name="connsiteX83" fmla="*/ 0 w 7677150"/>
              <a:gd name="connsiteY83" fmla="*/ 11220449 h 11588200"/>
              <a:gd name="connsiteX0" fmla="*/ 361950 w 7867650"/>
              <a:gd name="connsiteY0" fmla="*/ 8362950 h 11588200"/>
              <a:gd name="connsiteX1" fmla="*/ 361950 w 7867650"/>
              <a:gd name="connsiteY1" fmla="*/ 8362950 h 11588200"/>
              <a:gd name="connsiteX2" fmla="*/ 323850 w 7867650"/>
              <a:gd name="connsiteY2" fmla="*/ 7524750 h 11588200"/>
              <a:gd name="connsiteX3" fmla="*/ 1257300 w 7867650"/>
              <a:gd name="connsiteY3" fmla="*/ 7562850 h 11588200"/>
              <a:gd name="connsiteX4" fmla="*/ 1295400 w 7867650"/>
              <a:gd name="connsiteY4" fmla="*/ 6705600 h 11588200"/>
              <a:gd name="connsiteX5" fmla="*/ 876300 w 7867650"/>
              <a:gd name="connsiteY5" fmla="*/ 6705600 h 11588200"/>
              <a:gd name="connsiteX6" fmla="*/ 895350 w 7867650"/>
              <a:gd name="connsiteY6" fmla="*/ 6496050 h 11588200"/>
              <a:gd name="connsiteX7" fmla="*/ 1581150 w 7867650"/>
              <a:gd name="connsiteY7" fmla="*/ 6572250 h 11588200"/>
              <a:gd name="connsiteX8" fmla="*/ 2952750 w 7867650"/>
              <a:gd name="connsiteY8" fmla="*/ 6629400 h 11588200"/>
              <a:gd name="connsiteX9" fmla="*/ 2914650 w 7867650"/>
              <a:gd name="connsiteY9" fmla="*/ 7448550 h 11588200"/>
              <a:gd name="connsiteX10" fmla="*/ 5619750 w 7867650"/>
              <a:gd name="connsiteY10" fmla="*/ 7620000 h 11588200"/>
              <a:gd name="connsiteX11" fmla="*/ 6191250 w 7867650"/>
              <a:gd name="connsiteY11" fmla="*/ 7181850 h 11588200"/>
              <a:gd name="connsiteX12" fmla="*/ 6210300 w 7867650"/>
              <a:gd name="connsiteY12" fmla="*/ 6915150 h 11588200"/>
              <a:gd name="connsiteX13" fmla="*/ 6286500 w 7867650"/>
              <a:gd name="connsiteY13" fmla="*/ 6686550 h 11588200"/>
              <a:gd name="connsiteX14" fmla="*/ 6381750 w 7867650"/>
              <a:gd name="connsiteY14" fmla="*/ 6515100 h 11588200"/>
              <a:gd name="connsiteX15" fmla="*/ 6400800 w 7867650"/>
              <a:gd name="connsiteY15" fmla="*/ 6172200 h 11588200"/>
              <a:gd name="connsiteX16" fmla="*/ 6381750 w 7867650"/>
              <a:gd name="connsiteY16" fmla="*/ 5695950 h 11588200"/>
              <a:gd name="connsiteX17" fmla="*/ 6419850 w 7867650"/>
              <a:gd name="connsiteY17" fmla="*/ 5391150 h 11588200"/>
              <a:gd name="connsiteX18" fmla="*/ 6591300 w 7867650"/>
              <a:gd name="connsiteY18" fmla="*/ 5219700 h 11588200"/>
              <a:gd name="connsiteX19" fmla="*/ 6781800 w 7867650"/>
              <a:gd name="connsiteY19" fmla="*/ 5067300 h 11588200"/>
              <a:gd name="connsiteX20" fmla="*/ 6877050 w 7867650"/>
              <a:gd name="connsiteY20" fmla="*/ 4933950 h 11588200"/>
              <a:gd name="connsiteX21" fmla="*/ 6819900 w 7867650"/>
              <a:gd name="connsiteY21" fmla="*/ 4781550 h 11588200"/>
              <a:gd name="connsiteX22" fmla="*/ 6667500 w 7867650"/>
              <a:gd name="connsiteY22" fmla="*/ 4648200 h 11588200"/>
              <a:gd name="connsiteX23" fmla="*/ 6667500 w 7867650"/>
              <a:gd name="connsiteY23" fmla="*/ 4648200 h 11588200"/>
              <a:gd name="connsiteX24" fmla="*/ 6667500 w 7867650"/>
              <a:gd name="connsiteY24" fmla="*/ 4210050 h 11588200"/>
              <a:gd name="connsiteX25" fmla="*/ 6934200 w 7867650"/>
              <a:gd name="connsiteY25" fmla="*/ 4210050 h 11588200"/>
              <a:gd name="connsiteX26" fmla="*/ 7010400 w 7867650"/>
              <a:gd name="connsiteY26" fmla="*/ 4438650 h 11588200"/>
              <a:gd name="connsiteX27" fmla="*/ 7048500 w 7867650"/>
              <a:gd name="connsiteY27" fmla="*/ 4629150 h 11588200"/>
              <a:gd name="connsiteX28" fmla="*/ 7105650 w 7867650"/>
              <a:gd name="connsiteY28" fmla="*/ 4895850 h 11588200"/>
              <a:gd name="connsiteX29" fmla="*/ 7048500 w 7867650"/>
              <a:gd name="connsiteY29" fmla="*/ 5067300 h 11588200"/>
              <a:gd name="connsiteX30" fmla="*/ 7315200 w 7867650"/>
              <a:gd name="connsiteY30" fmla="*/ 5314950 h 11588200"/>
              <a:gd name="connsiteX31" fmla="*/ 7867650 w 7867650"/>
              <a:gd name="connsiteY31" fmla="*/ 5467350 h 11588200"/>
              <a:gd name="connsiteX32" fmla="*/ 7581900 w 7867650"/>
              <a:gd name="connsiteY32" fmla="*/ 19050 h 11588200"/>
              <a:gd name="connsiteX33" fmla="*/ 6934200 w 7867650"/>
              <a:gd name="connsiteY33" fmla="*/ 0 h 11588200"/>
              <a:gd name="connsiteX34" fmla="*/ 6496050 w 7867650"/>
              <a:gd name="connsiteY34" fmla="*/ 0 h 11588200"/>
              <a:gd name="connsiteX35" fmla="*/ 5467350 w 7867650"/>
              <a:gd name="connsiteY35" fmla="*/ 190500 h 11588200"/>
              <a:gd name="connsiteX36" fmla="*/ 4762500 w 7867650"/>
              <a:gd name="connsiteY36" fmla="*/ 209550 h 11588200"/>
              <a:gd name="connsiteX37" fmla="*/ 4800600 w 7867650"/>
              <a:gd name="connsiteY37" fmla="*/ 266700 h 11588200"/>
              <a:gd name="connsiteX38" fmla="*/ 4610100 w 7867650"/>
              <a:gd name="connsiteY38" fmla="*/ 285750 h 11588200"/>
              <a:gd name="connsiteX39" fmla="*/ 4629150 w 7867650"/>
              <a:gd name="connsiteY39" fmla="*/ 400050 h 11588200"/>
              <a:gd name="connsiteX40" fmla="*/ 5562600 w 7867650"/>
              <a:gd name="connsiteY40" fmla="*/ 381000 h 11588200"/>
              <a:gd name="connsiteX41" fmla="*/ 5772150 w 7867650"/>
              <a:gd name="connsiteY41" fmla="*/ 457200 h 11588200"/>
              <a:gd name="connsiteX42" fmla="*/ 5962650 w 7867650"/>
              <a:gd name="connsiteY42" fmla="*/ 876300 h 11588200"/>
              <a:gd name="connsiteX43" fmla="*/ 6134100 w 7867650"/>
              <a:gd name="connsiteY43" fmla="*/ 1581150 h 11588200"/>
              <a:gd name="connsiteX44" fmla="*/ 6248400 w 7867650"/>
              <a:gd name="connsiteY44" fmla="*/ 1733550 h 11588200"/>
              <a:gd name="connsiteX45" fmla="*/ 6400800 w 7867650"/>
              <a:gd name="connsiteY45" fmla="*/ 2019300 h 11588200"/>
              <a:gd name="connsiteX46" fmla="*/ 6648450 w 7867650"/>
              <a:gd name="connsiteY46" fmla="*/ 2057400 h 11588200"/>
              <a:gd name="connsiteX47" fmla="*/ 6591300 w 7867650"/>
              <a:gd name="connsiteY47" fmla="*/ 2209800 h 11588200"/>
              <a:gd name="connsiteX48" fmla="*/ 6591300 w 7867650"/>
              <a:gd name="connsiteY48" fmla="*/ 2209800 h 11588200"/>
              <a:gd name="connsiteX49" fmla="*/ 6686550 w 7867650"/>
              <a:gd name="connsiteY49" fmla="*/ 2495550 h 11588200"/>
              <a:gd name="connsiteX50" fmla="*/ 6800850 w 7867650"/>
              <a:gd name="connsiteY50" fmla="*/ 2609850 h 11588200"/>
              <a:gd name="connsiteX51" fmla="*/ 6934200 w 7867650"/>
              <a:gd name="connsiteY51" fmla="*/ 2762250 h 11588200"/>
              <a:gd name="connsiteX52" fmla="*/ 6991350 w 7867650"/>
              <a:gd name="connsiteY52" fmla="*/ 2914650 h 11588200"/>
              <a:gd name="connsiteX53" fmla="*/ 6934200 w 7867650"/>
              <a:gd name="connsiteY53" fmla="*/ 3124200 h 11588200"/>
              <a:gd name="connsiteX54" fmla="*/ 6705600 w 7867650"/>
              <a:gd name="connsiteY54" fmla="*/ 3333750 h 11588200"/>
              <a:gd name="connsiteX55" fmla="*/ 6610350 w 7867650"/>
              <a:gd name="connsiteY55" fmla="*/ 3505200 h 11588200"/>
              <a:gd name="connsiteX56" fmla="*/ 6629400 w 7867650"/>
              <a:gd name="connsiteY56" fmla="*/ 3676650 h 11588200"/>
              <a:gd name="connsiteX57" fmla="*/ 6800850 w 7867650"/>
              <a:gd name="connsiteY57" fmla="*/ 3867150 h 11588200"/>
              <a:gd name="connsiteX58" fmla="*/ 6896100 w 7867650"/>
              <a:gd name="connsiteY58" fmla="*/ 3981450 h 11588200"/>
              <a:gd name="connsiteX59" fmla="*/ 6915150 w 7867650"/>
              <a:gd name="connsiteY59" fmla="*/ 4191000 h 11588200"/>
              <a:gd name="connsiteX60" fmla="*/ 6667500 w 7867650"/>
              <a:gd name="connsiteY60" fmla="*/ 4210050 h 11588200"/>
              <a:gd name="connsiteX61" fmla="*/ 6629400 w 7867650"/>
              <a:gd name="connsiteY61" fmla="*/ 4629150 h 11588200"/>
              <a:gd name="connsiteX62" fmla="*/ 6629400 w 7867650"/>
              <a:gd name="connsiteY62" fmla="*/ 4629150 h 11588200"/>
              <a:gd name="connsiteX63" fmla="*/ 6838950 w 7867650"/>
              <a:gd name="connsiteY63" fmla="*/ 4857750 h 11588200"/>
              <a:gd name="connsiteX64" fmla="*/ 6877050 w 7867650"/>
              <a:gd name="connsiteY64" fmla="*/ 4933950 h 11588200"/>
              <a:gd name="connsiteX65" fmla="*/ 6743700 w 7867650"/>
              <a:gd name="connsiteY65" fmla="*/ 5124450 h 11588200"/>
              <a:gd name="connsiteX66" fmla="*/ 6515100 w 7867650"/>
              <a:gd name="connsiteY66" fmla="*/ 5257800 h 11588200"/>
              <a:gd name="connsiteX67" fmla="*/ 6419850 w 7867650"/>
              <a:gd name="connsiteY67" fmla="*/ 5391150 h 11588200"/>
              <a:gd name="connsiteX68" fmla="*/ 6419850 w 7867650"/>
              <a:gd name="connsiteY68" fmla="*/ 6172200 h 11588200"/>
              <a:gd name="connsiteX69" fmla="*/ 6419850 w 7867650"/>
              <a:gd name="connsiteY69" fmla="*/ 6343650 h 11588200"/>
              <a:gd name="connsiteX70" fmla="*/ 6343650 w 7867650"/>
              <a:gd name="connsiteY70" fmla="*/ 6572250 h 11588200"/>
              <a:gd name="connsiteX71" fmla="*/ 6248400 w 7867650"/>
              <a:gd name="connsiteY71" fmla="*/ 6819900 h 11588200"/>
              <a:gd name="connsiteX72" fmla="*/ 6191250 w 7867650"/>
              <a:gd name="connsiteY72" fmla="*/ 7048500 h 11588200"/>
              <a:gd name="connsiteX73" fmla="*/ 6191250 w 7867650"/>
              <a:gd name="connsiteY73" fmla="*/ 7296150 h 11588200"/>
              <a:gd name="connsiteX74" fmla="*/ 6134100 w 7867650"/>
              <a:gd name="connsiteY74" fmla="*/ 7962900 h 11588200"/>
              <a:gd name="connsiteX75" fmla="*/ 5848350 w 7867650"/>
              <a:gd name="connsiteY75" fmla="*/ 8477250 h 11588200"/>
              <a:gd name="connsiteX76" fmla="*/ 5486400 w 7867650"/>
              <a:gd name="connsiteY76" fmla="*/ 8953500 h 11588200"/>
              <a:gd name="connsiteX77" fmla="*/ 5295900 w 7867650"/>
              <a:gd name="connsiteY77" fmla="*/ 9315450 h 11588200"/>
              <a:gd name="connsiteX78" fmla="*/ 4991100 w 7867650"/>
              <a:gd name="connsiteY78" fmla="*/ 9886950 h 11588200"/>
              <a:gd name="connsiteX79" fmla="*/ 4438650 w 7867650"/>
              <a:gd name="connsiteY79" fmla="*/ 10687050 h 11588200"/>
              <a:gd name="connsiteX80" fmla="*/ 4324350 w 7867650"/>
              <a:gd name="connsiteY80" fmla="*/ 11258549 h 11588200"/>
              <a:gd name="connsiteX81" fmla="*/ 2362200 w 7867650"/>
              <a:gd name="connsiteY81" fmla="*/ 11582399 h 11588200"/>
              <a:gd name="connsiteX82" fmla="*/ 190500 w 7867650"/>
              <a:gd name="connsiteY82" fmla="*/ 11220449 h 11588200"/>
              <a:gd name="connsiteX83" fmla="*/ 0 w 7867650"/>
              <a:gd name="connsiteY83" fmla="*/ 11182349 h 11588200"/>
              <a:gd name="connsiteX0" fmla="*/ 383085 w 7888785"/>
              <a:gd name="connsiteY0" fmla="*/ 8362950 h 11588200"/>
              <a:gd name="connsiteX1" fmla="*/ 383085 w 7888785"/>
              <a:gd name="connsiteY1" fmla="*/ 8362950 h 11588200"/>
              <a:gd name="connsiteX2" fmla="*/ 344985 w 7888785"/>
              <a:gd name="connsiteY2" fmla="*/ 7524750 h 11588200"/>
              <a:gd name="connsiteX3" fmla="*/ 1278435 w 7888785"/>
              <a:gd name="connsiteY3" fmla="*/ 7562850 h 11588200"/>
              <a:gd name="connsiteX4" fmla="*/ 1316535 w 7888785"/>
              <a:gd name="connsiteY4" fmla="*/ 6705600 h 11588200"/>
              <a:gd name="connsiteX5" fmla="*/ 897435 w 7888785"/>
              <a:gd name="connsiteY5" fmla="*/ 6705600 h 11588200"/>
              <a:gd name="connsiteX6" fmla="*/ 916485 w 7888785"/>
              <a:gd name="connsiteY6" fmla="*/ 6496050 h 11588200"/>
              <a:gd name="connsiteX7" fmla="*/ 1602285 w 7888785"/>
              <a:gd name="connsiteY7" fmla="*/ 6572250 h 11588200"/>
              <a:gd name="connsiteX8" fmla="*/ 2973885 w 7888785"/>
              <a:gd name="connsiteY8" fmla="*/ 6629400 h 11588200"/>
              <a:gd name="connsiteX9" fmla="*/ 2935785 w 7888785"/>
              <a:gd name="connsiteY9" fmla="*/ 7448550 h 11588200"/>
              <a:gd name="connsiteX10" fmla="*/ 5640885 w 7888785"/>
              <a:gd name="connsiteY10" fmla="*/ 7620000 h 11588200"/>
              <a:gd name="connsiteX11" fmla="*/ 6212385 w 7888785"/>
              <a:gd name="connsiteY11" fmla="*/ 7181850 h 11588200"/>
              <a:gd name="connsiteX12" fmla="*/ 6231435 w 7888785"/>
              <a:gd name="connsiteY12" fmla="*/ 6915150 h 11588200"/>
              <a:gd name="connsiteX13" fmla="*/ 6307635 w 7888785"/>
              <a:gd name="connsiteY13" fmla="*/ 6686550 h 11588200"/>
              <a:gd name="connsiteX14" fmla="*/ 6402885 w 7888785"/>
              <a:gd name="connsiteY14" fmla="*/ 6515100 h 11588200"/>
              <a:gd name="connsiteX15" fmla="*/ 6421935 w 7888785"/>
              <a:gd name="connsiteY15" fmla="*/ 6172200 h 11588200"/>
              <a:gd name="connsiteX16" fmla="*/ 6402885 w 7888785"/>
              <a:gd name="connsiteY16" fmla="*/ 5695950 h 11588200"/>
              <a:gd name="connsiteX17" fmla="*/ 6440985 w 7888785"/>
              <a:gd name="connsiteY17" fmla="*/ 5391150 h 11588200"/>
              <a:gd name="connsiteX18" fmla="*/ 6612435 w 7888785"/>
              <a:gd name="connsiteY18" fmla="*/ 5219700 h 11588200"/>
              <a:gd name="connsiteX19" fmla="*/ 6802935 w 7888785"/>
              <a:gd name="connsiteY19" fmla="*/ 5067300 h 11588200"/>
              <a:gd name="connsiteX20" fmla="*/ 6898185 w 7888785"/>
              <a:gd name="connsiteY20" fmla="*/ 4933950 h 11588200"/>
              <a:gd name="connsiteX21" fmla="*/ 6841035 w 7888785"/>
              <a:gd name="connsiteY21" fmla="*/ 4781550 h 11588200"/>
              <a:gd name="connsiteX22" fmla="*/ 6688635 w 7888785"/>
              <a:gd name="connsiteY22" fmla="*/ 4648200 h 11588200"/>
              <a:gd name="connsiteX23" fmla="*/ 6688635 w 7888785"/>
              <a:gd name="connsiteY23" fmla="*/ 4648200 h 11588200"/>
              <a:gd name="connsiteX24" fmla="*/ 6688635 w 7888785"/>
              <a:gd name="connsiteY24" fmla="*/ 4210050 h 11588200"/>
              <a:gd name="connsiteX25" fmla="*/ 6955335 w 7888785"/>
              <a:gd name="connsiteY25" fmla="*/ 4210050 h 11588200"/>
              <a:gd name="connsiteX26" fmla="*/ 7031535 w 7888785"/>
              <a:gd name="connsiteY26" fmla="*/ 4438650 h 11588200"/>
              <a:gd name="connsiteX27" fmla="*/ 7069635 w 7888785"/>
              <a:gd name="connsiteY27" fmla="*/ 4629150 h 11588200"/>
              <a:gd name="connsiteX28" fmla="*/ 7126785 w 7888785"/>
              <a:gd name="connsiteY28" fmla="*/ 4895850 h 11588200"/>
              <a:gd name="connsiteX29" fmla="*/ 7069635 w 7888785"/>
              <a:gd name="connsiteY29" fmla="*/ 5067300 h 11588200"/>
              <a:gd name="connsiteX30" fmla="*/ 7336335 w 7888785"/>
              <a:gd name="connsiteY30" fmla="*/ 5314950 h 11588200"/>
              <a:gd name="connsiteX31" fmla="*/ 7888785 w 7888785"/>
              <a:gd name="connsiteY31" fmla="*/ 5467350 h 11588200"/>
              <a:gd name="connsiteX32" fmla="*/ 7603035 w 7888785"/>
              <a:gd name="connsiteY32" fmla="*/ 19050 h 11588200"/>
              <a:gd name="connsiteX33" fmla="*/ 6955335 w 7888785"/>
              <a:gd name="connsiteY33" fmla="*/ 0 h 11588200"/>
              <a:gd name="connsiteX34" fmla="*/ 6517185 w 7888785"/>
              <a:gd name="connsiteY34" fmla="*/ 0 h 11588200"/>
              <a:gd name="connsiteX35" fmla="*/ 5488485 w 7888785"/>
              <a:gd name="connsiteY35" fmla="*/ 190500 h 11588200"/>
              <a:gd name="connsiteX36" fmla="*/ 4783635 w 7888785"/>
              <a:gd name="connsiteY36" fmla="*/ 209550 h 11588200"/>
              <a:gd name="connsiteX37" fmla="*/ 4821735 w 7888785"/>
              <a:gd name="connsiteY37" fmla="*/ 266700 h 11588200"/>
              <a:gd name="connsiteX38" fmla="*/ 4631235 w 7888785"/>
              <a:gd name="connsiteY38" fmla="*/ 285750 h 11588200"/>
              <a:gd name="connsiteX39" fmla="*/ 4650285 w 7888785"/>
              <a:gd name="connsiteY39" fmla="*/ 400050 h 11588200"/>
              <a:gd name="connsiteX40" fmla="*/ 5583735 w 7888785"/>
              <a:gd name="connsiteY40" fmla="*/ 381000 h 11588200"/>
              <a:gd name="connsiteX41" fmla="*/ 5793285 w 7888785"/>
              <a:gd name="connsiteY41" fmla="*/ 457200 h 11588200"/>
              <a:gd name="connsiteX42" fmla="*/ 5983785 w 7888785"/>
              <a:gd name="connsiteY42" fmla="*/ 876300 h 11588200"/>
              <a:gd name="connsiteX43" fmla="*/ 6155235 w 7888785"/>
              <a:gd name="connsiteY43" fmla="*/ 1581150 h 11588200"/>
              <a:gd name="connsiteX44" fmla="*/ 6269535 w 7888785"/>
              <a:gd name="connsiteY44" fmla="*/ 1733550 h 11588200"/>
              <a:gd name="connsiteX45" fmla="*/ 6421935 w 7888785"/>
              <a:gd name="connsiteY45" fmla="*/ 2019300 h 11588200"/>
              <a:gd name="connsiteX46" fmla="*/ 6669585 w 7888785"/>
              <a:gd name="connsiteY46" fmla="*/ 2057400 h 11588200"/>
              <a:gd name="connsiteX47" fmla="*/ 6612435 w 7888785"/>
              <a:gd name="connsiteY47" fmla="*/ 2209800 h 11588200"/>
              <a:gd name="connsiteX48" fmla="*/ 6612435 w 7888785"/>
              <a:gd name="connsiteY48" fmla="*/ 2209800 h 11588200"/>
              <a:gd name="connsiteX49" fmla="*/ 6707685 w 7888785"/>
              <a:gd name="connsiteY49" fmla="*/ 2495550 h 11588200"/>
              <a:gd name="connsiteX50" fmla="*/ 6821985 w 7888785"/>
              <a:gd name="connsiteY50" fmla="*/ 2609850 h 11588200"/>
              <a:gd name="connsiteX51" fmla="*/ 6955335 w 7888785"/>
              <a:gd name="connsiteY51" fmla="*/ 2762250 h 11588200"/>
              <a:gd name="connsiteX52" fmla="*/ 7012485 w 7888785"/>
              <a:gd name="connsiteY52" fmla="*/ 2914650 h 11588200"/>
              <a:gd name="connsiteX53" fmla="*/ 6955335 w 7888785"/>
              <a:gd name="connsiteY53" fmla="*/ 3124200 h 11588200"/>
              <a:gd name="connsiteX54" fmla="*/ 6726735 w 7888785"/>
              <a:gd name="connsiteY54" fmla="*/ 3333750 h 11588200"/>
              <a:gd name="connsiteX55" fmla="*/ 6631485 w 7888785"/>
              <a:gd name="connsiteY55" fmla="*/ 3505200 h 11588200"/>
              <a:gd name="connsiteX56" fmla="*/ 6650535 w 7888785"/>
              <a:gd name="connsiteY56" fmla="*/ 3676650 h 11588200"/>
              <a:gd name="connsiteX57" fmla="*/ 6821985 w 7888785"/>
              <a:gd name="connsiteY57" fmla="*/ 3867150 h 11588200"/>
              <a:gd name="connsiteX58" fmla="*/ 6917235 w 7888785"/>
              <a:gd name="connsiteY58" fmla="*/ 3981450 h 11588200"/>
              <a:gd name="connsiteX59" fmla="*/ 6936285 w 7888785"/>
              <a:gd name="connsiteY59" fmla="*/ 4191000 h 11588200"/>
              <a:gd name="connsiteX60" fmla="*/ 6688635 w 7888785"/>
              <a:gd name="connsiteY60" fmla="*/ 4210050 h 11588200"/>
              <a:gd name="connsiteX61" fmla="*/ 6650535 w 7888785"/>
              <a:gd name="connsiteY61" fmla="*/ 4629150 h 11588200"/>
              <a:gd name="connsiteX62" fmla="*/ 6650535 w 7888785"/>
              <a:gd name="connsiteY62" fmla="*/ 4629150 h 11588200"/>
              <a:gd name="connsiteX63" fmla="*/ 6860085 w 7888785"/>
              <a:gd name="connsiteY63" fmla="*/ 4857750 h 11588200"/>
              <a:gd name="connsiteX64" fmla="*/ 6898185 w 7888785"/>
              <a:gd name="connsiteY64" fmla="*/ 4933950 h 11588200"/>
              <a:gd name="connsiteX65" fmla="*/ 6764835 w 7888785"/>
              <a:gd name="connsiteY65" fmla="*/ 5124450 h 11588200"/>
              <a:gd name="connsiteX66" fmla="*/ 6536235 w 7888785"/>
              <a:gd name="connsiteY66" fmla="*/ 5257800 h 11588200"/>
              <a:gd name="connsiteX67" fmla="*/ 6440985 w 7888785"/>
              <a:gd name="connsiteY67" fmla="*/ 5391150 h 11588200"/>
              <a:gd name="connsiteX68" fmla="*/ 6440985 w 7888785"/>
              <a:gd name="connsiteY68" fmla="*/ 6172200 h 11588200"/>
              <a:gd name="connsiteX69" fmla="*/ 6440985 w 7888785"/>
              <a:gd name="connsiteY69" fmla="*/ 6343650 h 11588200"/>
              <a:gd name="connsiteX70" fmla="*/ 6364785 w 7888785"/>
              <a:gd name="connsiteY70" fmla="*/ 6572250 h 11588200"/>
              <a:gd name="connsiteX71" fmla="*/ 6269535 w 7888785"/>
              <a:gd name="connsiteY71" fmla="*/ 6819900 h 11588200"/>
              <a:gd name="connsiteX72" fmla="*/ 6212385 w 7888785"/>
              <a:gd name="connsiteY72" fmla="*/ 7048500 h 11588200"/>
              <a:gd name="connsiteX73" fmla="*/ 6212385 w 7888785"/>
              <a:gd name="connsiteY73" fmla="*/ 7296150 h 11588200"/>
              <a:gd name="connsiteX74" fmla="*/ 6155235 w 7888785"/>
              <a:gd name="connsiteY74" fmla="*/ 7962900 h 11588200"/>
              <a:gd name="connsiteX75" fmla="*/ 5869485 w 7888785"/>
              <a:gd name="connsiteY75" fmla="*/ 8477250 h 11588200"/>
              <a:gd name="connsiteX76" fmla="*/ 5507535 w 7888785"/>
              <a:gd name="connsiteY76" fmla="*/ 8953500 h 11588200"/>
              <a:gd name="connsiteX77" fmla="*/ 5317035 w 7888785"/>
              <a:gd name="connsiteY77" fmla="*/ 9315450 h 11588200"/>
              <a:gd name="connsiteX78" fmla="*/ 5012235 w 7888785"/>
              <a:gd name="connsiteY78" fmla="*/ 9886950 h 11588200"/>
              <a:gd name="connsiteX79" fmla="*/ 4459785 w 7888785"/>
              <a:gd name="connsiteY79" fmla="*/ 10687050 h 11588200"/>
              <a:gd name="connsiteX80" fmla="*/ 4345485 w 7888785"/>
              <a:gd name="connsiteY80" fmla="*/ 11258549 h 11588200"/>
              <a:gd name="connsiteX81" fmla="*/ 2383335 w 7888785"/>
              <a:gd name="connsiteY81" fmla="*/ 11582399 h 11588200"/>
              <a:gd name="connsiteX82" fmla="*/ 211635 w 7888785"/>
              <a:gd name="connsiteY82" fmla="*/ 11220449 h 11588200"/>
              <a:gd name="connsiteX83" fmla="*/ 21135 w 7888785"/>
              <a:gd name="connsiteY83" fmla="*/ 11182349 h 11588200"/>
              <a:gd name="connsiteX84" fmla="*/ 2085 w 7888785"/>
              <a:gd name="connsiteY84" fmla="*/ 11182349 h 11588200"/>
              <a:gd name="connsiteX0" fmla="*/ 628650 w 8134350"/>
              <a:gd name="connsiteY0" fmla="*/ 8362950 h 11588200"/>
              <a:gd name="connsiteX1" fmla="*/ 628650 w 8134350"/>
              <a:gd name="connsiteY1" fmla="*/ 8362950 h 11588200"/>
              <a:gd name="connsiteX2" fmla="*/ 590550 w 8134350"/>
              <a:gd name="connsiteY2" fmla="*/ 7524750 h 11588200"/>
              <a:gd name="connsiteX3" fmla="*/ 1524000 w 8134350"/>
              <a:gd name="connsiteY3" fmla="*/ 7562850 h 11588200"/>
              <a:gd name="connsiteX4" fmla="*/ 1562100 w 8134350"/>
              <a:gd name="connsiteY4" fmla="*/ 6705600 h 11588200"/>
              <a:gd name="connsiteX5" fmla="*/ 1143000 w 8134350"/>
              <a:gd name="connsiteY5" fmla="*/ 6705600 h 11588200"/>
              <a:gd name="connsiteX6" fmla="*/ 1162050 w 8134350"/>
              <a:gd name="connsiteY6" fmla="*/ 6496050 h 11588200"/>
              <a:gd name="connsiteX7" fmla="*/ 1847850 w 8134350"/>
              <a:gd name="connsiteY7" fmla="*/ 6572250 h 11588200"/>
              <a:gd name="connsiteX8" fmla="*/ 3219450 w 8134350"/>
              <a:gd name="connsiteY8" fmla="*/ 6629400 h 11588200"/>
              <a:gd name="connsiteX9" fmla="*/ 3181350 w 8134350"/>
              <a:gd name="connsiteY9" fmla="*/ 7448550 h 11588200"/>
              <a:gd name="connsiteX10" fmla="*/ 5886450 w 8134350"/>
              <a:gd name="connsiteY10" fmla="*/ 7620000 h 11588200"/>
              <a:gd name="connsiteX11" fmla="*/ 6457950 w 8134350"/>
              <a:gd name="connsiteY11" fmla="*/ 7181850 h 11588200"/>
              <a:gd name="connsiteX12" fmla="*/ 6477000 w 8134350"/>
              <a:gd name="connsiteY12" fmla="*/ 6915150 h 11588200"/>
              <a:gd name="connsiteX13" fmla="*/ 6553200 w 8134350"/>
              <a:gd name="connsiteY13" fmla="*/ 6686550 h 11588200"/>
              <a:gd name="connsiteX14" fmla="*/ 6648450 w 8134350"/>
              <a:gd name="connsiteY14" fmla="*/ 6515100 h 11588200"/>
              <a:gd name="connsiteX15" fmla="*/ 6667500 w 8134350"/>
              <a:gd name="connsiteY15" fmla="*/ 6172200 h 11588200"/>
              <a:gd name="connsiteX16" fmla="*/ 6648450 w 8134350"/>
              <a:gd name="connsiteY16" fmla="*/ 5695950 h 11588200"/>
              <a:gd name="connsiteX17" fmla="*/ 6686550 w 8134350"/>
              <a:gd name="connsiteY17" fmla="*/ 5391150 h 11588200"/>
              <a:gd name="connsiteX18" fmla="*/ 6858000 w 8134350"/>
              <a:gd name="connsiteY18" fmla="*/ 5219700 h 11588200"/>
              <a:gd name="connsiteX19" fmla="*/ 7048500 w 8134350"/>
              <a:gd name="connsiteY19" fmla="*/ 5067300 h 11588200"/>
              <a:gd name="connsiteX20" fmla="*/ 7143750 w 8134350"/>
              <a:gd name="connsiteY20" fmla="*/ 4933950 h 11588200"/>
              <a:gd name="connsiteX21" fmla="*/ 7086600 w 8134350"/>
              <a:gd name="connsiteY21" fmla="*/ 4781550 h 11588200"/>
              <a:gd name="connsiteX22" fmla="*/ 6934200 w 8134350"/>
              <a:gd name="connsiteY22" fmla="*/ 4648200 h 11588200"/>
              <a:gd name="connsiteX23" fmla="*/ 6934200 w 8134350"/>
              <a:gd name="connsiteY23" fmla="*/ 4648200 h 11588200"/>
              <a:gd name="connsiteX24" fmla="*/ 6934200 w 8134350"/>
              <a:gd name="connsiteY24" fmla="*/ 4210050 h 11588200"/>
              <a:gd name="connsiteX25" fmla="*/ 7200900 w 8134350"/>
              <a:gd name="connsiteY25" fmla="*/ 4210050 h 11588200"/>
              <a:gd name="connsiteX26" fmla="*/ 7277100 w 8134350"/>
              <a:gd name="connsiteY26" fmla="*/ 4438650 h 11588200"/>
              <a:gd name="connsiteX27" fmla="*/ 7315200 w 8134350"/>
              <a:gd name="connsiteY27" fmla="*/ 4629150 h 11588200"/>
              <a:gd name="connsiteX28" fmla="*/ 7372350 w 8134350"/>
              <a:gd name="connsiteY28" fmla="*/ 4895850 h 11588200"/>
              <a:gd name="connsiteX29" fmla="*/ 7315200 w 8134350"/>
              <a:gd name="connsiteY29" fmla="*/ 5067300 h 11588200"/>
              <a:gd name="connsiteX30" fmla="*/ 7581900 w 8134350"/>
              <a:gd name="connsiteY30" fmla="*/ 5314950 h 11588200"/>
              <a:gd name="connsiteX31" fmla="*/ 8134350 w 8134350"/>
              <a:gd name="connsiteY31" fmla="*/ 5467350 h 11588200"/>
              <a:gd name="connsiteX32" fmla="*/ 7848600 w 8134350"/>
              <a:gd name="connsiteY32" fmla="*/ 19050 h 11588200"/>
              <a:gd name="connsiteX33" fmla="*/ 7200900 w 8134350"/>
              <a:gd name="connsiteY33" fmla="*/ 0 h 11588200"/>
              <a:gd name="connsiteX34" fmla="*/ 6762750 w 8134350"/>
              <a:gd name="connsiteY34" fmla="*/ 0 h 11588200"/>
              <a:gd name="connsiteX35" fmla="*/ 5734050 w 8134350"/>
              <a:gd name="connsiteY35" fmla="*/ 190500 h 11588200"/>
              <a:gd name="connsiteX36" fmla="*/ 5029200 w 8134350"/>
              <a:gd name="connsiteY36" fmla="*/ 209550 h 11588200"/>
              <a:gd name="connsiteX37" fmla="*/ 5067300 w 8134350"/>
              <a:gd name="connsiteY37" fmla="*/ 266700 h 11588200"/>
              <a:gd name="connsiteX38" fmla="*/ 4876800 w 8134350"/>
              <a:gd name="connsiteY38" fmla="*/ 285750 h 11588200"/>
              <a:gd name="connsiteX39" fmla="*/ 4895850 w 8134350"/>
              <a:gd name="connsiteY39" fmla="*/ 400050 h 11588200"/>
              <a:gd name="connsiteX40" fmla="*/ 5829300 w 8134350"/>
              <a:gd name="connsiteY40" fmla="*/ 381000 h 11588200"/>
              <a:gd name="connsiteX41" fmla="*/ 6038850 w 8134350"/>
              <a:gd name="connsiteY41" fmla="*/ 457200 h 11588200"/>
              <a:gd name="connsiteX42" fmla="*/ 6229350 w 8134350"/>
              <a:gd name="connsiteY42" fmla="*/ 876300 h 11588200"/>
              <a:gd name="connsiteX43" fmla="*/ 6400800 w 8134350"/>
              <a:gd name="connsiteY43" fmla="*/ 1581150 h 11588200"/>
              <a:gd name="connsiteX44" fmla="*/ 6515100 w 8134350"/>
              <a:gd name="connsiteY44" fmla="*/ 1733550 h 11588200"/>
              <a:gd name="connsiteX45" fmla="*/ 6667500 w 8134350"/>
              <a:gd name="connsiteY45" fmla="*/ 2019300 h 11588200"/>
              <a:gd name="connsiteX46" fmla="*/ 6915150 w 8134350"/>
              <a:gd name="connsiteY46" fmla="*/ 2057400 h 11588200"/>
              <a:gd name="connsiteX47" fmla="*/ 6858000 w 8134350"/>
              <a:gd name="connsiteY47" fmla="*/ 2209800 h 11588200"/>
              <a:gd name="connsiteX48" fmla="*/ 6858000 w 8134350"/>
              <a:gd name="connsiteY48" fmla="*/ 2209800 h 11588200"/>
              <a:gd name="connsiteX49" fmla="*/ 6953250 w 8134350"/>
              <a:gd name="connsiteY49" fmla="*/ 2495550 h 11588200"/>
              <a:gd name="connsiteX50" fmla="*/ 7067550 w 8134350"/>
              <a:gd name="connsiteY50" fmla="*/ 2609850 h 11588200"/>
              <a:gd name="connsiteX51" fmla="*/ 7200900 w 8134350"/>
              <a:gd name="connsiteY51" fmla="*/ 2762250 h 11588200"/>
              <a:gd name="connsiteX52" fmla="*/ 7258050 w 8134350"/>
              <a:gd name="connsiteY52" fmla="*/ 2914650 h 11588200"/>
              <a:gd name="connsiteX53" fmla="*/ 7200900 w 8134350"/>
              <a:gd name="connsiteY53" fmla="*/ 3124200 h 11588200"/>
              <a:gd name="connsiteX54" fmla="*/ 6972300 w 8134350"/>
              <a:gd name="connsiteY54" fmla="*/ 3333750 h 11588200"/>
              <a:gd name="connsiteX55" fmla="*/ 6877050 w 8134350"/>
              <a:gd name="connsiteY55" fmla="*/ 3505200 h 11588200"/>
              <a:gd name="connsiteX56" fmla="*/ 6896100 w 8134350"/>
              <a:gd name="connsiteY56" fmla="*/ 3676650 h 11588200"/>
              <a:gd name="connsiteX57" fmla="*/ 7067550 w 8134350"/>
              <a:gd name="connsiteY57" fmla="*/ 3867150 h 11588200"/>
              <a:gd name="connsiteX58" fmla="*/ 7162800 w 8134350"/>
              <a:gd name="connsiteY58" fmla="*/ 3981450 h 11588200"/>
              <a:gd name="connsiteX59" fmla="*/ 7181850 w 8134350"/>
              <a:gd name="connsiteY59" fmla="*/ 4191000 h 11588200"/>
              <a:gd name="connsiteX60" fmla="*/ 6934200 w 8134350"/>
              <a:gd name="connsiteY60" fmla="*/ 4210050 h 11588200"/>
              <a:gd name="connsiteX61" fmla="*/ 6896100 w 8134350"/>
              <a:gd name="connsiteY61" fmla="*/ 4629150 h 11588200"/>
              <a:gd name="connsiteX62" fmla="*/ 6896100 w 8134350"/>
              <a:gd name="connsiteY62" fmla="*/ 4629150 h 11588200"/>
              <a:gd name="connsiteX63" fmla="*/ 7105650 w 8134350"/>
              <a:gd name="connsiteY63" fmla="*/ 4857750 h 11588200"/>
              <a:gd name="connsiteX64" fmla="*/ 7143750 w 8134350"/>
              <a:gd name="connsiteY64" fmla="*/ 4933950 h 11588200"/>
              <a:gd name="connsiteX65" fmla="*/ 7010400 w 8134350"/>
              <a:gd name="connsiteY65" fmla="*/ 5124450 h 11588200"/>
              <a:gd name="connsiteX66" fmla="*/ 6781800 w 8134350"/>
              <a:gd name="connsiteY66" fmla="*/ 5257800 h 11588200"/>
              <a:gd name="connsiteX67" fmla="*/ 6686550 w 8134350"/>
              <a:gd name="connsiteY67" fmla="*/ 5391150 h 11588200"/>
              <a:gd name="connsiteX68" fmla="*/ 6686550 w 8134350"/>
              <a:gd name="connsiteY68" fmla="*/ 6172200 h 11588200"/>
              <a:gd name="connsiteX69" fmla="*/ 6686550 w 8134350"/>
              <a:gd name="connsiteY69" fmla="*/ 6343650 h 11588200"/>
              <a:gd name="connsiteX70" fmla="*/ 6610350 w 8134350"/>
              <a:gd name="connsiteY70" fmla="*/ 6572250 h 11588200"/>
              <a:gd name="connsiteX71" fmla="*/ 6515100 w 8134350"/>
              <a:gd name="connsiteY71" fmla="*/ 6819900 h 11588200"/>
              <a:gd name="connsiteX72" fmla="*/ 6457950 w 8134350"/>
              <a:gd name="connsiteY72" fmla="*/ 7048500 h 11588200"/>
              <a:gd name="connsiteX73" fmla="*/ 6457950 w 8134350"/>
              <a:gd name="connsiteY73" fmla="*/ 7296150 h 11588200"/>
              <a:gd name="connsiteX74" fmla="*/ 6400800 w 8134350"/>
              <a:gd name="connsiteY74" fmla="*/ 7962900 h 11588200"/>
              <a:gd name="connsiteX75" fmla="*/ 6115050 w 8134350"/>
              <a:gd name="connsiteY75" fmla="*/ 8477250 h 11588200"/>
              <a:gd name="connsiteX76" fmla="*/ 5753100 w 8134350"/>
              <a:gd name="connsiteY76" fmla="*/ 8953500 h 11588200"/>
              <a:gd name="connsiteX77" fmla="*/ 5562600 w 8134350"/>
              <a:gd name="connsiteY77" fmla="*/ 9315450 h 11588200"/>
              <a:gd name="connsiteX78" fmla="*/ 5257800 w 8134350"/>
              <a:gd name="connsiteY78" fmla="*/ 9886950 h 11588200"/>
              <a:gd name="connsiteX79" fmla="*/ 4705350 w 8134350"/>
              <a:gd name="connsiteY79" fmla="*/ 10687050 h 11588200"/>
              <a:gd name="connsiteX80" fmla="*/ 4591050 w 8134350"/>
              <a:gd name="connsiteY80" fmla="*/ 11258549 h 11588200"/>
              <a:gd name="connsiteX81" fmla="*/ 2628900 w 8134350"/>
              <a:gd name="connsiteY81" fmla="*/ 11582399 h 11588200"/>
              <a:gd name="connsiteX82" fmla="*/ 457200 w 8134350"/>
              <a:gd name="connsiteY82" fmla="*/ 11220449 h 11588200"/>
              <a:gd name="connsiteX83" fmla="*/ 266700 w 8134350"/>
              <a:gd name="connsiteY83" fmla="*/ 11182349 h 11588200"/>
              <a:gd name="connsiteX84" fmla="*/ 0 w 8134350"/>
              <a:gd name="connsiteY84" fmla="*/ 11353799 h 11588200"/>
              <a:gd name="connsiteX0" fmla="*/ 666749 w 8172449"/>
              <a:gd name="connsiteY0" fmla="*/ 8362950 h 11588200"/>
              <a:gd name="connsiteX1" fmla="*/ 666749 w 8172449"/>
              <a:gd name="connsiteY1" fmla="*/ 8362950 h 11588200"/>
              <a:gd name="connsiteX2" fmla="*/ 628649 w 8172449"/>
              <a:gd name="connsiteY2" fmla="*/ 7524750 h 11588200"/>
              <a:gd name="connsiteX3" fmla="*/ 1562099 w 8172449"/>
              <a:gd name="connsiteY3" fmla="*/ 7562850 h 11588200"/>
              <a:gd name="connsiteX4" fmla="*/ 1600199 w 8172449"/>
              <a:gd name="connsiteY4" fmla="*/ 6705600 h 11588200"/>
              <a:gd name="connsiteX5" fmla="*/ 1181099 w 8172449"/>
              <a:gd name="connsiteY5" fmla="*/ 6705600 h 11588200"/>
              <a:gd name="connsiteX6" fmla="*/ 1200149 w 8172449"/>
              <a:gd name="connsiteY6" fmla="*/ 6496050 h 11588200"/>
              <a:gd name="connsiteX7" fmla="*/ 1885949 w 8172449"/>
              <a:gd name="connsiteY7" fmla="*/ 6572250 h 11588200"/>
              <a:gd name="connsiteX8" fmla="*/ 3257549 w 8172449"/>
              <a:gd name="connsiteY8" fmla="*/ 6629400 h 11588200"/>
              <a:gd name="connsiteX9" fmla="*/ 3219449 w 8172449"/>
              <a:gd name="connsiteY9" fmla="*/ 7448550 h 11588200"/>
              <a:gd name="connsiteX10" fmla="*/ 5924549 w 8172449"/>
              <a:gd name="connsiteY10" fmla="*/ 7620000 h 11588200"/>
              <a:gd name="connsiteX11" fmla="*/ 6496049 w 8172449"/>
              <a:gd name="connsiteY11" fmla="*/ 7181850 h 11588200"/>
              <a:gd name="connsiteX12" fmla="*/ 6515099 w 8172449"/>
              <a:gd name="connsiteY12" fmla="*/ 6915150 h 11588200"/>
              <a:gd name="connsiteX13" fmla="*/ 6591299 w 8172449"/>
              <a:gd name="connsiteY13" fmla="*/ 6686550 h 11588200"/>
              <a:gd name="connsiteX14" fmla="*/ 6686549 w 8172449"/>
              <a:gd name="connsiteY14" fmla="*/ 6515100 h 11588200"/>
              <a:gd name="connsiteX15" fmla="*/ 6705599 w 8172449"/>
              <a:gd name="connsiteY15" fmla="*/ 6172200 h 11588200"/>
              <a:gd name="connsiteX16" fmla="*/ 6686549 w 8172449"/>
              <a:gd name="connsiteY16" fmla="*/ 5695950 h 11588200"/>
              <a:gd name="connsiteX17" fmla="*/ 6724649 w 8172449"/>
              <a:gd name="connsiteY17" fmla="*/ 5391150 h 11588200"/>
              <a:gd name="connsiteX18" fmla="*/ 6896099 w 8172449"/>
              <a:gd name="connsiteY18" fmla="*/ 5219700 h 11588200"/>
              <a:gd name="connsiteX19" fmla="*/ 7086599 w 8172449"/>
              <a:gd name="connsiteY19" fmla="*/ 5067300 h 11588200"/>
              <a:gd name="connsiteX20" fmla="*/ 7181849 w 8172449"/>
              <a:gd name="connsiteY20" fmla="*/ 4933950 h 11588200"/>
              <a:gd name="connsiteX21" fmla="*/ 7124699 w 8172449"/>
              <a:gd name="connsiteY21" fmla="*/ 4781550 h 11588200"/>
              <a:gd name="connsiteX22" fmla="*/ 6972299 w 8172449"/>
              <a:gd name="connsiteY22" fmla="*/ 4648200 h 11588200"/>
              <a:gd name="connsiteX23" fmla="*/ 6972299 w 8172449"/>
              <a:gd name="connsiteY23" fmla="*/ 4648200 h 11588200"/>
              <a:gd name="connsiteX24" fmla="*/ 6972299 w 8172449"/>
              <a:gd name="connsiteY24" fmla="*/ 4210050 h 11588200"/>
              <a:gd name="connsiteX25" fmla="*/ 7238999 w 8172449"/>
              <a:gd name="connsiteY25" fmla="*/ 4210050 h 11588200"/>
              <a:gd name="connsiteX26" fmla="*/ 7315199 w 8172449"/>
              <a:gd name="connsiteY26" fmla="*/ 4438650 h 11588200"/>
              <a:gd name="connsiteX27" fmla="*/ 7353299 w 8172449"/>
              <a:gd name="connsiteY27" fmla="*/ 4629150 h 11588200"/>
              <a:gd name="connsiteX28" fmla="*/ 7410449 w 8172449"/>
              <a:gd name="connsiteY28" fmla="*/ 4895850 h 11588200"/>
              <a:gd name="connsiteX29" fmla="*/ 7353299 w 8172449"/>
              <a:gd name="connsiteY29" fmla="*/ 5067300 h 11588200"/>
              <a:gd name="connsiteX30" fmla="*/ 7619999 w 8172449"/>
              <a:gd name="connsiteY30" fmla="*/ 5314950 h 11588200"/>
              <a:gd name="connsiteX31" fmla="*/ 8172449 w 8172449"/>
              <a:gd name="connsiteY31" fmla="*/ 5467350 h 11588200"/>
              <a:gd name="connsiteX32" fmla="*/ 7886699 w 8172449"/>
              <a:gd name="connsiteY32" fmla="*/ 19050 h 11588200"/>
              <a:gd name="connsiteX33" fmla="*/ 7238999 w 8172449"/>
              <a:gd name="connsiteY33" fmla="*/ 0 h 11588200"/>
              <a:gd name="connsiteX34" fmla="*/ 6800849 w 8172449"/>
              <a:gd name="connsiteY34" fmla="*/ 0 h 11588200"/>
              <a:gd name="connsiteX35" fmla="*/ 5772149 w 8172449"/>
              <a:gd name="connsiteY35" fmla="*/ 190500 h 11588200"/>
              <a:gd name="connsiteX36" fmla="*/ 5067299 w 8172449"/>
              <a:gd name="connsiteY36" fmla="*/ 209550 h 11588200"/>
              <a:gd name="connsiteX37" fmla="*/ 5105399 w 8172449"/>
              <a:gd name="connsiteY37" fmla="*/ 266700 h 11588200"/>
              <a:gd name="connsiteX38" fmla="*/ 4914899 w 8172449"/>
              <a:gd name="connsiteY38" fmla="*/ 285750 h 11588200"/>
              <a:gd name="connsiteX39" fmla="*/ 4933949 w 8172449"/>
              <a:gd name="connsiteY39" fmla="*/ 400050 h 11588200"/>
              <a:gd name="connsiteX40" fmla="*/ 5867399 w 8172449"/>
              <a:gd name="connsiteY40" fmla="*/ 381000 h 11588200"/>
              <a:gd name="connsiteX41" fmla="*/ 6076949 w 8172449"/>
              <a:gd name="connsiteY41" fmla="*/ 457200 h 11588200"/>
              <a:gd name="connsiteX42" fmla="*/ 6267449 w 8172449"/>
              <a:gd name="connsiteY42" fmla="*/ 876300 h 11588200"/>
              <a:gd name="connsiteX43" fmla="*/ 6438899 w 8172449"/>
              <a:gd name="connsiteY43" fmla="*/ 1581150 h 11588200"/>
              <a:gd name="connsiteX44" fmla="*/ 6553199 w 8172449"/>
              <a:gd name="connsiteY44" fmla="*/ 1733550 h 11588200"/>
              <a:gd name="connsiteX45" fmla="*/ 6705599 w 8172449"/>
              <a:gd name="connsiteY45" fmla="*/ 2019300 h 11588200"/>
              <a:gd name="connsiteX46" fmla="*/ 6953249 w 8172449"/>
              <a:gd name="connsiteY46" fmla="*/ 2057400 h 11588200"/>
              <a:gd name="connsiteX47" fmla="*/ 6896099 w 8172449"/>
              <a:gd name="connsiteY47" fmla="*/ 2209800 h 11588200"/>
              <a:gd name="connsiteX48" fmla="*/ 6896099 w 8172449"/>
              <a:gd name="connsiteY48" fmla="*/ 2209800 h 11588200"/>
              <a:gd name="connsiteX49" fmla="*/ 6991349 w 8172449"/>
              <a:gd name="connsiteY49" fmla="*/ 2495550 h 11588200"/>
              <a:gd name="connsiteX50" fmla="*/ 7105649 w 8172449"/>
              <a:gd name="connsiteY50" fmla="*/ 2609850 h 11588200"/>
              <a:gd name="connsiteX51" fmla="*/ 7238999 w 8172449"/>
              <a:gd name="connsiteY51" fmla="*/ 2762250 h 11588200"/>
              <a:gd name="connsiteX52" fmla="*/ 7296149 w 8172449"/>
              <a:gd name="connsiteY52" fmla="*/ 2914650 h 11588200"/>
              <a:gd name="connsiteX53" fmla="*/ 7238999 w 8172449"/>
              <a:gd name="connsiteY53" fmla="*/ 3124200 h 11588200"/>
              <a:gd name="connsiteX54" fmla="*/ 7010399 w 8172449"/>
              <a:gd name="connsiteY54" fmla="*/ 3333750 h 11588200"/>
              <a:gd name="connsiteX55" fmla="*/ 6915149 w 8172449"/>
              <a:gd name="connsiteY55" fmla="*/ 3505200 h 11588200"/>
              <a:gd name="connsiteX56" fmla="*/ 6934199 w 8172449"/>
              <a:gd name="connsiteY56" fmla="*/ 3676650 h 11588200"/>
              <a:gd name="connsiteX57" fmla="*/ 7105649 w 8172449"/>
              <a:gd name="connsiteY57" fmla="*/ 3867150 h 11588200"/>
              <a:gd name="connsiteX58" fmla="*/ 7200899 w 8172449"/>
              <a:gd name="connsiteY58" fmla="*/ 3981450 h 11588200"/>
              <a:gd name="connsiteX59" fmla="*/ 7219949 w 8172449"/>
              <a:gd name="connsiteY59" fmla="*/ 4191000 h 11588200"/>
              <a:gd name="connsiteX60" fmla="*/ 6972299 w 8172449"/>
              <a:gd name="connsiteY60" fmla="*/ 4210050 h 11588200"/>
              <a:gd name="connsiteX61" fmla="*/ 6934199 w 8172449"/>
              <a:gd name="connsiteY61" fmla="*/ 4629150 h 11588200"/>
              <a:gd name="connsiteX62" fmla="*/ 6934199 w 8172449"/>
              <a:gd name="connsiteY62" fmla="*/ 4629150 h 11588200"/>
              <a:gd name="connsiteX63" fmla="*/ 7143749 w 8172449"/>
              <a:gd name="connsiteY63" fmla="*/ 4857750 h 11588200"/>
              <a:gd name="connsiteX64" fmla="*/ 7181849 w 8172449"/>
              <a:gd name="connsiteY64" fmla="*/ 4933950 h 11588200"/>
              <a:gd name="connsiteX65" fmla="*/ 7048499 w 8172449"/>
              <a:gd name="connsiteY65" fmla="*/ 5124450 h 11588200"/>
              <a:gd name="connsiteX66" fmla="*/ 6819899 w 8172449"/>
              <a:gd name="connsiteY66" fmla="*/ 5257800 h 11588200"/>
              <a:gd name="connsiteX67" fmla="*/ 6724649 w 8172449"/>
              <a:gd name="connsiteY67" fmla="*/ 5391150 h 11588200"/>
              <a:gd name="connsiteX68" fmla="*/ 6724649 w 8172449"/>
              <a:gd name="connsiteY68" fmla="*/ 6172200 h 11588200"/>
              <a:gd name="connsiteX69" fmla="*/ 6724649 w 8172449"/>
              <a:gd name="connsiteY69" fmla="*/ 6343650 h 11588200"/>
              <a:gd name="connsiteX70" fmla="*/ 6648449 w 8172449"/>
              <a:gd name="connsiteY70" fmla="*/ 6572250 h 11588200"/>
              <a:gd name="connsiteX71" fmla="*/ 6553199 w 8172449"/>
              <a:gd name="connsiteY71" fmla="*/ 6819900 h 11588200"/>
              <a:gd name="connsiteX72" fmla="*/ 6496049 w 8172449"/>
              <a:gd name="connsiteY72" fmla="*/ 7048500 h 11588200"/>
              <a:gd name="connsiteX73" fmla="*/ 6496049 w 8172449"/>
              <a:gd name="connsiteY73" fmla="*/ 7296150 h 11588200"/>
              <a:gd name="connsiteX74" fmla="*/ 6438899 w 8172449"/>
              <a:gd name="connsiteY74" fmla="*/ 7962900 h 11588200"/>
              <a:gd name="connsiteX75" fmla="*/ 6153149 w 8172449"/>
              <a:gd name="connsiteY75" fmla="*/ 8477250 h 11588200"/>
              <a:gd name="connsiteX76" fmla="*/ 5791199 w 8172449"/>
              <a:gd name="connsiteY76" fmla="*/ 8953500 h 11588200"/>
              <a:gd name="connsiteX77" fmla="*/ 5600699 w 8172449"/>
              <a:gd name="connsiteY77" fmla="*/ 9315450 h 11588200"/>
              <a:gd name="connsiteX78" fmla="*/ 5295899 w 8172449"/>
              <a:gd name="connsiteY78" fmla="*/ 9886950 h 11588200"/>
              <a:gd name="connsiteX79" fmla="*/ 4743449 w 8172449"/>
              <a:gd name="connsiteY79" fmla="*/ 10687050 h 11588200"/>
              <a:gd name="connsiteX80" fmla="*/ 4629149 w 8172449"/>
              <a:gd name="connsiteY80" fmla="*/ 11258549 h 11588200"/>
              <a:gd name="connsiteX81" fmla="*/ 2666999 w 8172449"/>
              <a:gd name="connsiteY81" fmla="*/ 11582399 h 11588200"/>
              <a:gd name="connsiteX82" fmla="*/ 495299 w 8172449"/>
              <a:gd name="connsiteY82" fmla="*/ 11220449 h 11588200"/>
              <a:gd name="connsiteX83" fmla="*/ 304799 w 8172449"/>
              <a:gd name="connsiteY83" fmla="*/ 11182349 h 11588200"/>
              <a:gd name="connsiteX84" fmla="*/ 38099 w 8172449"/>
              <a:gd name="connsiteY84" fmla="*/ 11353799 h 11588200"/>
              <a:gd name="connsiteX85" fmla="*/ 0 w 8172449"/>
              <a:gd name="connsiteY85" fmla="*/ 11353799 h 11588200"/>
              <a:gd name="connsiteX0" fmla="*/ 645989 w 8151689"/>
              <a:gd name="connsiteY0" fmla="*/ 8362950 h 11588200"/>
              <a:gd name="connsiteX1" fmla="*/ 645989 w 8151689"/>
              <a:gd name="connsiteY1" fmla="*/ 8362950 h 11588200"/>
              <a:gd name="connsiteX2" fmla="*/ 607889 w 8151689"/>
              <a:gd name="connsiteY2" fmla="*/ 7524750 h 11588200"/>
              <a:gd name="connsiteX3" fmla="*/ 1541339 w 8151689"/>
              <a:gd name="connsiteY3" fmla="*/ 7562850 h 11588200"/>
              <a:gd name="connsiteX4" fmla="*/ 1579439 w 8151689"/>
              <a:gd name="connsiteY4" fmla="*/ 6705600 h 11588200"/>
              <a:gd name="connsiteX5" fmla="*/ 1160339 w 8151689"/>
              <a:gd name="connsiteY5" fmla="*/ 6705600 h 11588200"/>
              <a:gd name="connsiteX6" fmla="*/ 1179389 w 8151689"/>
              <a:gd name="connsiteY6" fmla="*/ 6496050 h 11588200"/>
              <a:gd name="connsiteX7" fmla="*/ 1865189 w 8151689"/>
              <a:gd name="connsiteY7" fmla="*/ 6572250 h 11588200"/>
              <a:gd name="connsiteX8" fmla="*/ 3236789 w 8151689"/>
              <a:gd name="connsiteY8" fmla="*/ 6629400 h 11588200"/>
              <a:gd name="connsiteX9" fmla="*/ 3198689 w 8151689"/>
              <a:gd name="connsiteY9" fmla="*/ 7448550 h 11588200"/>
              <a:gd name="connsiteX10" fmla="*/ 5903789 w 8151689"/>
              <a:gd name="connsiteY10" fmla="*/ 7620000 h 11588200"/>
              <a:gd name="connsiteX11" fmla="*/ 6475289 w 8151689"/>
              <a:gd name="connsiteY11" fmla="*/ 7181850 h 11588200"/>
              <a:gd name="connsiteX12" fmla="*/ 6494339 w 8151689"/>
              <a:gd name="connsiteY12" fmla="*/ 6915150 h 11588200"/>
              <a:gd name="connsiteX13" fmla="*/ 6570539 w 8151689"/>
              <a:gd name="connsiteY13" fmla="*/ 6686550 h 11588200"/>
              <a:gd name="connsiteX14" fmla="*/ 6665789 w 8151689"/>
              <a:gd name="connsiteY14" fmla="*/ 6515100 h 11588200"/>
              <a:gd name="connsiteX15" fmla="*/ 6684839 w 8151689"/>
              <a:gd name="connsiteY15" fmla="*/ 6172200 h 11588200"/>
              <a:gd name="connsiteX16" fmla="*/ 6665789 w 8151689"/>
              <a:gd name="connsiteY16" fmla="*/ 5695950 h 11588200"/>
              <a:gd name="connsiteX17" fmla="*/ 6703889 w 8151689"/>
              <a:gd name="connsiteY17" fmla="*/ 5391150 h 11588200"/>
              <a:gd name="connsiteX18" fmla="*/ 6875339 w 8151689"/>
              <a:gd name="connsiteY18" fmla="*/ 5219700 h 11588200"/>
              <a:gd name="connsiteX19" fmla="*/ 7065839 w 8151689"/>
              <a:gd name="connsiteY19" fmla="*/ 5067300 h 11588200"/>
              <a:gd name="connsiteX20" fmla="*/ 7161089 w 8151689"/>
              <a:gd name="connsiteY20" fmla="*/ 4933950 h 11588200"/>
              <a:gd name="connsiteX21" fmla="*/ 7103939 w 8151689"/>
              <a:gd name="connsiteY21" fmla="*/ 4781550 h 11588200"/>
              <a:gd name="connsiteX22" fmla="*/ 6951539 w 8151689"/>
              <a:gd name="connsiteY22" fmla="*/ 4648200 h 11588200"/>
              <a:gd name="connsiteX23" fmla="*/ 6951539 w 8151689"/>
              <a:gd name="connsiteY23" fmla="*/ 4648200 h 11588200"/>
              <a:gd name="connsiteX24" fmla="*/ 6951539 w 8151689"/>
              <a:gd name="connsiteY24" fmla="*/ 4210050 h 11588200"/>
              <a:gd name="connsiteX25" fmla="*/ 7218239 w 8151689"/>
              <a:gd name="connsiteY25" fmla="*/ 4210050 h 11588200"/>
              <a:gd name="connsiteX26" fmla="*/ 7294439 w 8151689"/>
              <a:gd name="connsiteY26" fmla="*/ 4438650 h 11588200"/>
              <a:gd name="connsiteX27" fmla="*/ 7332539 w 8151689"/>
              <a:gd name="connsiteY27" fmla="*/ 4629150 h 11588200"/>
              <a:gd name="connsiteX28" fmla="*/ 7389689 w 8151689"/>
              <a:gd name="connsiteY28" fmla="*/ 4895850 h 11588200"/>
              <a:gd name="connsiteX29" fmla="*/ 7332539 w 8151689"/>
              <a:gd name="connsiteY29" fmla="*/ 5067300 h 11588200"/>
              <a:gd name="connsiteX30" fmla="*/ 7599239 w 8151689"/>
              <a:gd name="connsiteY30" fmla="*/ 5314950 h 11588200"/>
              <a:gd name="connsiteX31" fmla="*/ 8151689 w 8151689"/>
              <a:gd name="connsiteY31" fmla="*/ 5467350 h 11588200"/>
              <a:gd name="connsiteX32" fmla="*/ 7865939 w 8151689"/>
              <a:gd name="connsiteY32" fmla="*/ 19050 h 11588200"/>
              <a:gd name="connsiteX33" fmla="*/ 7218239 w 8151689"/>
              <a:gd name="connsiteY33" fmla="*/ 0 h 11588200"/>
              <a:gd name="connsiteX34" fmla="*/ 6780089 w 8151689"/>
              <a:gd name="connsiteY34" fmla="*/ 0 h 11588200"/>
              <a:gd name="connsiteX35" fmla="*/ 5751389 w 8151689"/>
              <a:gd name="connsiteY35" fmla="*/ 190500 h 11588200"/>
              <a:gd name="connsiteX36" fmla="*/ 5046539 w 8151689"/>
              <a:gd name="connsiteY36" fmla="*/ 209550 h 11588200"/>
              <a:gd name="connsiteX37" fmla="*/ 5084639 w 8151689"/>
              <a:gd name="connsiteY37" fmla="*/ 266700 h 11588200"/>
              <a:gd name="connsiteX38" fmla="*/ 4894139 w 8151689"/>
              <a:gd name="connsiteY38" fmla="*/ 285750 h 11588200"/>
              <a:gd name="connsiteX39" fmla="*/ 4913189 w 8151689"/>
              <a:gd name="connsiteY39" fmla="*/ 400050 h 11588200"/>
              <a:gd name="connsiteX40" fmla="*/ 5846639 w 8151689"/>
              <a:gd name="connsiteY40" fmla="*/ 381000 h 11588200"/>
              <a:gd name="connsiteX41" fmla="*/ 6056189 w 8151689"/>
              <a:gd name="connsiteY41" fmla="*/ 457200 h 11588200"/>
              <a:gd name="connsiteX42" fmla="*/ 6246689 w 8151689"/>
              <a:gd name="connsiteY42" fmla="*/ 876300 h 11588200"/>
              <a:gd name="connsiteX43" fmla="*/ 6418139 w 8151689"/>
              <a:gd name="connsiteY43" fmla="*/ 1581150 h 11588200"/>
              <a:gd name="connsiteX44" fmla="*/ 6532439 w 8151689"/>
              <a:gd name="connsiteY44" fmla="*/ 1733550 h 11588200"/>
              <a:gd name="connsiteX45" fmla="*/ 6684839 w 8151689"/>
              <a:gd name="connsiteY45" fmla="*/ 2019300 h 11588200"/>
              <a:gd name="connsiteX46" fmla="*/ 6932489 w 8151689"/>
              <a:gd name="connsiteY46" fmla="*/ 2057400 h 11588200"/>
              <a:gd name="connsiteX47" fmla="*/ 6875339 w 8151689"/>
              <a:gd name="connsiteY47" fmla="*/ 2209800 h 11588200"/>
              <a:gd name="connsiteX48" fmla="*/ 6875339 w 8151689"/>
              <a:gd name="connsiteY48" fmla="*/ 2209800 h 11588200"/>
              <a:gd name="connsiteX49" fmla="*/ 6970589 w 8151689"/>
              <a:gd name="connsiteY49" fmla="*/ 2495550 h 11588200"/>
              <a:gd name="connsiteX50" fmla="*/ 7084889 w 8151689"/>
              <a:gd name="connsiteY50" fmla="*/ 2609850 h 11588200"/>
              <a:gd name="connsiteX51" fmla="*/ 7218239 w 8151689"/>
              <a:gd name="connsiteY51" fmla="*/ 2762250 h 11588200"/>
              <a:gd name="connsiteX52" fmla="*/ 7275389 w 8151689"/>
              <a:gd name="connsiteY52" fmla="*/ 2914650 h 11588200"/>
              <a:gd name="connsiteX53" fmla="*/ 7218239 w 8151689"/>
              <a:gd name="connsiteY53" fmla="*/ 3124200 h 11588200"/>
              <a:gd name="connsiteX54" fmla="*/ 6989639 w 8151689"/>
              <a:gd name="connsiteY54" fmla="*/ 3333750 h 11588200"/>
              <a:gd name="connsiteX55" fmla="*/ 6894389 w 8151689"/>
              <a:gd name="connsiteY55" fmla="*/ 3505200 h 11588200"/>
              <a:gd name="connsiteX56" fmla="*/ 6913439 w 8151689"/>
              <a:gd name="connsiteY56" fmla="*/ 3676650 h 11588200"/>
              <a:gd name="connsiteX57" fmla="*/ 7084889 w 8151689"/>
              <a:gd name="connsiteY57" fmla="*/ 3867150 h 11588200"/>
              <a:gd name="connsiteX58" fmla="*/ 7180139 w 8151689"/>
              <a:gd name="connsiteY58" fmla="*/ 3981450 h 11588200"/>
              <a:gd name="connsiteX59" fmla="*/ 7199189 w 8151689"/>
              <a:gd name="connsiteY59" fmla="*/ 4191000 h 11588200"/>
              <a:gd name="connsiteX60" fmla="*/ 6951539 w 8151689"/>
              <a:gd name="connsiteY60" fmla="*/ 4210050 h 11588200"/>
              <a:gd name="connsiteX61" fmla="*/ 6913439 w 8151689"/>
              <a:gd name="connsiteY61" fmla="*/ 4629150 h 11588200"/>
              <a:gd name="connsiteX62" fmla="*/ 6913439 w 8151689"/>
              <a:gd name="connsiteY62" fmla="*/ 4629150 h 11588200"/>
              <a:gd name="connsiteX63" fmla="*/ 7122989 w 8151689"/>
              <a:gd name="connsiteY63" fmla="*/ 4857750 h 11588200"/>
              <a:gd name="connsiteX64" fmla="*/ 7161089 w 8151689"/>
              <a:gd name="connsiteY64" fmla="*/ 4933950 h 11588200"/>
              <a:gd name="connsiteX65" fmla="*/ 7027739 w 8151689"/>
              <a:gd name="connsiteY65" fmla="*/ 5124450 h 11588200"/>
              <a:gd name="connsiteX66" fmla="*/ 6799139 w 8151689"/>
              <a:gd name="connsiteY66" fmla="*/ 5257800 h 11588200"/>
              <a:gd name="connsiteX67" fmla="*/ 6703889 w 8151689"/>
              <a:gd name="connsiteY67" fmla="*/ 5391150 h 11588200"/>
              <a:gd name="connsiteX68" fmla="*/ 6703889 w 8151689"/>
              <a:gd name="connsiteY68" fmla="*/ 6172200 h 11588200"/>
              <a:gd name="connsiteX69" fmla="*/ 6703889 w 8151689"/>
              <a:gd name="connsiteY69" fmla="*/ 6343650 h 11588200"/>
              <a:gd name="connsiteX70" fmla="*/ 6627689 w 8151689"/>
              <a:gd name="connsiteY70" fmla="*/ 6572250 h 11588200"/>
              <a:gd name="connsiteX71" fmla="*/ 6532439 w 8151689"/>
              <a:gd name="connsiteY71" fmla="*/ 6819900 h 11588200"/>
              <a:gd name="connsiteX72" fmla="*/ 6475289 w 8151689"/>
              <a:gd name="connsiteY72" fmla="*/ 7048500 h 11588200"/>
              <a:gd name="connsiteX73" fmla="*/ 6475289 w 8151689"/>
              <a:gd name="connsiteY73" fmla="*/ 7296150 h 11588200"/>
              <a:gd name="connsiteX74" fmla="*/ 6418139 w 8151689"/>
              <a:gd name="connsiteY74" fmla="*/ 7962900 h 11588200"/>
              <a:gd name="connsiteX75" fmla="*/ 6132389 w 8151689"/>
              <a:gd name="connsiteY75" fmla="*/ 8477250 h 11588200"/>
              <a:gd name="connsiteX76" fmla="*/ 5770439 w 8151689"/>
              <a:gd name="connsiteY76" fmla="*/ 8953500 h 11588200"/>
              <a:gd name="connsiteX77" fmla="*/ 5579939 w 8151689"/>
              <a:gd name="connsiteY77" fmla="*/ 9315450 h 11588200"/>
              <a:gd name="connsiteX78" fmla="*/ 5275139 w 8151689"/>
              <a:gd name="connsiteY78" fmla="*/ 9886950 h 11588200"/>
              <a:gd name="connsiteX79" fmla="*/ 4722689 w 8151689"/>
              <a:gd name="connsiteY79" fmla="*/ 10687050 h 11588200"/>
              <a:gd name="connsiteX80" fmla="*/ 4608389 w 8151689"/>
              <a:gd name="connsiteY80" fmla="*/ 11258549 h 11588200"/>
              <a:gd name="connsiteX81" fmla="*/ 2646239 w 8151689"/>
              <a:gd name="connsiteY81" fmla="*/ 11582399 h 11588200"/>
              <a:gd name="connsiteX82" fmla="*/ 474539 w 8151689"/>
              <a:gd name="connsiteY82" fmla="*/ 11220449 h 11588200"/>
              <a:gd name="connsiteX83" fmla="*/ 284039 w 8151689"/>
              <a:gd name="connsiteY83" fmla="*/ 11182349 h 11588200"/>
              <a:gd name="connsiteX84" fmla="*/ 17339 w 8151689"/>
              <a:gd name="connsiteY84" fmla="*/ 11353799 h 11588200"/>
              <a:gd name="connsiteX85" fmla="*/ 36390 w 8151689"/>
              <a:gd name="connsiteY85" fmla="*/ 9848849 h 11588200"/>
              <a:gd name="connsiteX0" fmla="*/ 647698 w 8153398"/>
              <a:gd name="connsiteY0" fmla="*/ 8362950 h 11588200"/>
              <a:gd name="connsiteX1" fmla="*/ 647698 w 8153398"/>
              <a:gd name="connsiteY1" fmla="*/ 8362950 h 11588200"/>
              <a:gd name="connsiteX2" fmla="*/ 609598 w 8153398"/>
              <a:gd name="connsiteY2" fmla="*/ 7524750 h 11588200"/>
              <a:gd name="connsiteX3" fmla="*/ 1543048 w 8153398"/>
              <a:gd name="connsiteY3" fmla="*/ 7562850 h 11588200"/>
              <a:gd name="connsiteX4" fmla="*/ 1581148 w 8153398"/>
              <a:gd name="connsiteY4" fmla="*/ 6705600 h 11588200"/>
              <a:gd name="connsiteX5" fmla="*/ 1162048 w 8153398"/>
              <a:gd name="connsiteY5" fmla="*/ 6705600 h 11588200"/>
              <a:gd name="connsiteX6" fmla="*/ 1181098 w 8153398"/>
              <a:gd name="connsiteY6" fmla="*/ 6496050 h 11588200"/>
              <a:gd name="connsiteX7" fmla="*/ 1866898 w 8153398"/>
              <a:gd name="connsiteY7" fmla="*/ 6572250 h 11588200"/>
              <a:gd name="connsiteX8" fmla="*/ 3238498 w 8153398"/>
              <a:gd name="connsiteY8" fmla="*/ 6629400 h 11588200"/>
              <a:gd name="connsiteX9" fmla="*/ 3200398 w 8153398"/>
              <a:gd name="connsiteY9" fmla="*/ 7448550 h 11588200"/>
              <a:gd name="connsiteX10" fmla="*/ 5905498 w 8153398"/>
              <a:gd name="connsiteY10" fmla="*/ 7620000 h 11588200"/>
              <a:gd name="connsiteX11" fmla="*/ 6476998 w 8153398"/>
              <a:gd name="connsiteY11" fmla="*/ 7181850 h 11588200"/>
              <a:gd name="connsiteX12" fmla="*/ 6496048 w 8153398"/>
              <a:gd name="connsiteY12" fmla="*/ 6915150 h 11588200"/>
              <a:gd name="connsiteX13" fmla="*/ 6572248 w 8153398"/>
              <a:gd name="connsiteY13" fmla="*/ 6686550 h 11588200"/>
              <a:gd name="connsiteX14" fmla="*/ 6667498 w 8153398"/>
              <a:gd name="connsiteY14" fmla="*/ 6515100 h 11588200"/>
              <a:gd name="connsiteX15" fmla="*/ 6686548 w 8153398"/>
              <a:gd name="connsiteY15" fmla="*/ 6172200 h 11588200"/>
              <a:gd name="connsiteX16" fmla="*/ 6667498 w 8153398"/>
              <a:gd name="connsiteY16" fmla="*/ 5695950 h 11588200"/>
              <a:gd name="connsiteX17" fmla="*/ 6705598 w 8153398"/>
              <a:gd name="connsiteY17" fmla="*/ 5391150 h 11588200"/>
              <a:gd name="connsiteX18" fmla="*/ 6877048 w 8153398"/>
              <a:gd name="connsiteY18" fmla="*/ 5219700 h 11588200"/>
              <a:gd name="connsiteX19" fmla="*/ 7067548 w 8153398"/>
              <a:gd name="connsiteY19" fmla="*/ 5067300 h 11588200"/>
              <a:gd name="connsiteX20" fmla="*/ 7162798 w 8153398"/>
              <a:gd name="connsiteY20" fmla="*/ 4933950 h 11588200"/>
              <a:gd name="connsiteX21" fmla="*/ 7105648 w 8153398"/>
              <a:gd name="connsiteY21" fmla="*/ 4781550 h 11588200"/>
              <a:gd name="connsiteX22" fmla="*/ 6953248 w 8153398"/>
              <a:gd name="connsiteY22" fmla="*/ 4648200 h 11588200"/>
              <a:gd name="connsiteX23" fmla="*/ 6953248 w 8153398"/>
              <a:gd name="connsiteY23" fmla="*/ 4648200 h 11588200"/>
              <a:gd name="connsiteX24" fmla="*/ 6953248 w 8153398"/>
              <a:gd name="connsiteY24" fmla="*/ 4210050 h 11588200"/>
              <a:gd name="connsiteX25" fmla="*/ 7219948 w 8153398"/>
              <a:gd name="connsiteY25" fmla="*/ 4210050 h 11588200"/>
              <a:gd name="connsiteX26" fmla="*/ 7296148 w 8153398"/>
              <a:gd name="connsiteY26" fmla="*/ 4438650 h 11588200"/>
              <a:gd name="connsiteX27" fmla="*/ 7334248 w 8153398"/>
              <a:gd name="connsiteY27" fmla="*/ 4629150 h 11588200"/>
              <a:gd name="connsiteX28" fmla="*/ 7391398 w 8153398"/>
              <a:gd name="connsiteY28" fmla="*/ 4895850 h 11588200"/>
              <a:gd name="connsiteX29" fmla="*/ 7334248 w 8153398"/>
              <a:gd name="connsiteY29" fmla="*/ 5067300 h 11588200"/>
              <a:gd name="connsiteX30" fmla="*/ 7600948 w 8153398"/>
              <a:gd name="connsiteY30" fmla="*/ 5314950 h 11588200"/>
              <a:gd name="connsiteX31" fmla="*/ 8153398 w 8153398"/>
              <a:gd name="connsiteY31" fmla="*/ 5467350 h 11588200"/>
              <a:gd name="connsiteX32" fmla="*/ 7867648 w 8153398"/>
              <a:gd name="connsiteY32" fmla="*/ 19050 h 11588200"/>
              <a:gd name="connsiteX33" fmla="*/ 7219948 w 8153398"/>
              <a:gd name="connsiteY33" fmla="*/ 0 h 11588200"/>
              <a:gd name="connsiteX34" fmla="*/ 6781798 w 8153398"/>
              <a:gd name="connsiteY34" fmla="*/ 0 h 11588200"/>
              <a:gd name="connsiteX35" fmla="*/ 5753098 w 8153398"/>
              <a:gd name="connsiteY35" fmla="*/ 190500 h 11588200"/>
              <a:gd name="connsiteX36" fmla="*/ 5048248 w 8153398"/>
              <a:gd name="connsiteY36" fmla="*/ 209550 h 11588200"/>
              <a:gd name="connsiteX37" fmla="*/ 5086348 w 8153398"/>
              <a:gd name="connsiteY37" fmla="*/ 266700 h 11588200"/>
              <a:gd name="connsiteX38" fmla="*/ 4895848 w 8153398"/>
              <a:gd name="connsiteY38" fmla="*/ 285750 h 11588200"/>
              <a:gd name="connsiteX39" fmla="*/ 4914898 w 8153398"/>
              <a:gd name="connsiteY39" fmla="*/ 400050 h 11588200"/>
              <a:gd name="connsiteX40" fmla="*/ 5848348 w 8153398"/>
              <a:gd name="connsiteY40" fmla="*/ 381000 h 11588200"/>
              <a:gd name="connsiteX41" fmla="*/ 6057898 w 8153398"/>
              <a:gd name="connsiteY41" fmla="*/ 457200 h 11588200"/>
              <a:gd name="connsiteX42" fmla="*/ 6248398 w 8153398"/>
              <a:gd name="connsiteY42" fmla="*/ 876300 h 11588200"/>
              <a:gd name="connsiteX43" fmla="*/ 6419848 w 8153398"/>
              <a:gd name="connsiteY43" fmla="*/ 1581150 h 11588200"/>
              <a:gd name="connsiteX44" fmla="*/ 6534148 w 8153398"/>
              <a:gd name="connsiteY44" fmla="*/ 1733550 h 11588200"/>
              <a:gd name="connsiteX45" fmla="*/ 6686548 w 8153398"/>
              <a:gd name="connsiteY45" fmla="*/ 2019300 h 11588200"/>
              <a:gd name="connsiteX46" fmla="*/ 6934198 w 8153398"/>
              <a:gd name="connsiteY46" fmla="*/ 2057400 h 11588200"/>
              <a:gd name="connsiteX47" fmla="*/ 6877048 w 8153398"/>
              <a:gd name="connsiteY47" fmla="*/ 2209800 h 11588200"/>
              <a:gd name="connsiteX48" fmla="*/ 6877048 w 8153398"/>
              <a:gd name="connsiteY48" fmla="*/ 2209800 h 11588200"/>
              <a:gd name="connsiteX49" fmla="*/ 6972298 w 8153398"/>
              <a:gd name="connsiteY49" fmla="*/ 2495550 h 11588200"/>
              <a:gd name="connsiteX50" fmla="*/ 7086598 w 8153398"/>
              <a:gd name="connsiteY50" fmla="*/ 2609850 h 11588200"/>
              <a:gd name="connsiteX51" fmla="*/ 7219948 w 8153398"/>
              <a:gd name="connsiteY51" fmla="*/ 2762250 h 11588200"/>
              <a:gd name="connsiteX52" fmla="*/ 7277098 w 8153398"/>
              <a:gd name="connsiteY52" fmla="*/ 2914650 h 11588200"/>
              <a:gd name="connsiteX53" fmla="*/ 7219948 w 8153398"/>
              <a:gd name="connsiteY53" fmla="*/ 3124200 h 11588200"/>
              <a:gd name="connsiteX54" fmla="*/ 6991348 w 8153398"/>
              <a:gd name="connsiteY54" fmla="*/ 3333750 h 11588200"/>
              <a:gd name="connsiteX55" fmla="*/ 6896098 w 8153398"/>
              <a:gd name="connsiteY55" fmla="*/ 3505200 h 11588200"/>
              <a:gd name="connsiteX56" fmla="*/ 6915148 w 8153398"/>
              <a:gd name="connsiteY56" fmla="*/ 3676650 h 11588200"/>
              <a:gd name="connsiteX57" fmla="*/ 7086598 w 8153398"/>
              <a:gd name="connsiteY57" fmla="*/ 3867150 h 11588200"/>
              <a:gd name="connsiteX58" fmla="*/ 7181848 w 8153398"/>
              <a:gd name="connsiteY58" fmla="*/ 3981450 h 11588200"/>
              <a:gd name="connsiteX59" fmla="*/ 7200898 w 8153398"/>
              <a:gd name="connsiteY59" fmla="*/ 4191000 h 11588200"/>
              <a:gd name="connsiteX60" fmla="*/ 6953248 w 8153398"/>
              <a:gd name="connsiteY60" fmla="*/ 4210050 h 11588200"/>
              <a:gd name="connsiteX61" fmla="*/ 6915148 w 8153398"/>
              <a:gd name="connsiteY61" fmla="*/ 4629150 h 11588200"/>
              <a:gd name="connsiteX62" fmla="*/ 6915148 w 8153398"/>
              <a:gd name="connsiteY62" fmla="*/ 4629150 h 11588200"/>
              <a:gd name="connsiteX63" fmla="*/ 7124698 w 8153398"/>
              <a:gd name="connsiteY63" fmla="*/ 4857750 h 11588200"/>
              <a:gd name="connsiteX64" fmla="*/ 7162798 w 8153398"/>
              <a:gd name="connsiteY64" fmla="*/ 4933950 h 11588200"/>
              <a:gd name="connsiteX65" fmla="*/ 7029448 w 8153398"/>
              <a:gd name="connsiteY65" fmla="*/ 5124450 h 11588200"/>
              <a:gd name="connsiteX66" fmla="*/ 6800848 w 8153398"/>
              <a:gd name="connsiteY66" fmla="*/ 5257800 h 11588200"/>
              <a:gd name="connsiteX67" fmla="*/ 6705598 w 8153398"/>
              <a:gd name="connsiteY67" fmla="*/ 5391150 h 11588200"/>
              <a:gd name="connsiteX68" fmla="*/ 6705598 w 8153398"/>
              <a:gd name="connsiteY68" fmla="*/ 6172200 h 11588200"/>
              <a:gd name="connsiteX69" fmla="*/ 6705598 w 8153398"/>
              <a:gd name="connsiteY69" fmla="*/ 6343650 h 11588200"/>
              <a:gd name="connsiteX70" fmla="*/ 6629398 w 8153398"/>
              <a:gd name="connsiteY70" fmla="*/ 6572250 h 11588200"/>
              <a:gd name="connsiteX71" fmla="*/ 6534148 w 8153398"/>
              <a:gd name="connsiteY71" fmla="*/ 6819900 h 11588200"/>
              <a:gd name="connsiteX72" fmla="*/ 6476998 w 8153398"/>
              <a:gd name="connsiteY72" fmla="*/ 7048500 h 11588200"/>
              <a:gd name="connsiteX73" fmla="*/ 6476998 w 8153398"/>
              <a:gd name="connsiteY73" fmla="*/ 7296150 h 11588200"/>
              <a:gd name="connsiteX74" fmla="*/ 6419848 w 8153398"/>
              <a:gd name="connsiteY74" fmla="*/ 7962900 h 11588200"/>
              <a:gd name="connsiteX75" fmla="*/ 6134098 w 8153398"/>
              <a:gd name="connsiteY75" fmla="*/ 8477250 h 11588200"/>
              <a:gd name="connsiteX76" fmla="*/ 5772148 w 8153398"/>
              <a:gd name="connsiteY76" fmla="*/ 8953500 h 11588200"/>
              <a:gd name="connsiteX77" fmla="*/ 5581648 w 8153398"/>
              <a:gd name="connsiteY77" fmla="*/ 9315450 h 11588200"/>
              <a:gd name="connsiteX78" fmla="*/ 5276848 w 8153398"/>
              <a:gd name="connsiteY78" fmla="*/ 9886950 h 11588200"/>
              <a:gd name="connsiteX79" fmla="*/ 4724398 w 8153398"/>
              <a:gd name="connsiteY79" fmla="*/ 10687050 h 11588200"/>
              <a:gd name="connsiteX80" fmla="*/ 4610098 w 8153398"/>
              <a:gd name="connsiteY80" fmla="*/ 11258549 h 11588200"/>
              <a:gd name="connsiteX81" fmla="*/ 2647948 w 8153398"/>
              <a:gd name="connsiteY81" fmla="*/ 11582399 h 11588200"/>
              <a:gd name="connsiteX82" fmla="*/ 476248 w 8153398"/>
              <a:gd name="connsiteY82" fmla="*/ 11220449 h 11588200"/>
              <a:gd name="connsiteX83" fmla="*/ 285748 w 8153398"/>
              <a:gd name="connsiteY83" fmla="*/ 11182349 h 11588200"/>
              <a:gd name="connsiteX84" fmla="*/ 19048 w 8153398"/>
              <a:gd name="connsiteY84" fmla="*/ 11353799 h 11588200"/>
              <a:gd name="connsiteX85" fmla="*/ 38099 w 8153398"/>
              <a:gd name="connsiteY85" fmla="*/ 9848849 h 11588200"/>
              <a:gd name="connsiteX86" fmla="*/ 0 w 8153398"/>
              <a:gd name="connsiteY86" fmla="*/ 9848849 h 11588200"/>
              <a:gd name="connsiteX0" fmla="*/ 1028698 w 8534398"/>
              <a:gd name="connsiteY0" fmla="*/ 8362950 h 11588200"/>
              <a:gd name="connsiteX1" fmla="*/ 1028698 w 8534398"/>
              <a:gd name="connsiteY1" fmla="*/ 8362950 h 11588200"/>
              <a:gd name="connsiteX2" fmla="*/ 990598 w 8534398"/>
              <a:gd name="connsiteY2" fmla="*/ 7524750 h 11588200"/>
              <a:gd name="connsiteX3" fmla="*/ 1924048 w 8534398"/>
              <a:gd name="connsiteY3" fmla="*/ 7562850 h 11588200"/>
              <a:gd name="connsiteX4" fmla="*/ 1962148 w 8534398"/>
              <a:gd name="connsiteY4" fmla="*/ 6705600 h 11588200"/>
              <a:gd name="connsiteX5" fmla="*/ 1543048 w 8534398"/>
              <a:gd name="connsiteY5" fmla="*/ 6705600 h 11588200"/>
              <a:gd name="connsiteX6" fmla="*/ 1562098 w 8534398"/>
              <a:gd name="connsiteY6" fmla="*/ 6496050 h 11588200"/>
              <a:gd name="connsiteX7" fmla="*/ 2247898 w 8534398"/>
              <a:gd name="connsiteY7" fmla="*/ 6572250 h 11588200"/>
              <a:gd name="connsiteX8" fmla="*/ 3619498 w 8534398"/>
              <a:gd name="connsiteY8" fmla="*/ 6629400 h 11588200"/>
              <a:gd name="connsiteX9" fmla="*/ 3581398 w 8534398"/>
              <a:gd name="connsiteY9" fmla="*/ 7448550 h 11588200"/>
              <a:gd name="connsiteX10" fmla="*/ 6286498 w 8534398"/>
              <a:gd name="connsiteY10" fmla="*/ 7620000 h 11588200"/>
              <a:gd name="connsiteX11" fmla="*/ 6857998 w 8534398"/>
              <a:gd name="connsiteY11" fmla="*/ 7181850 h 11588200"/>
              <a:gd name="connsiteX12" fmla="*/ 6877048 w 8534398"/>
              <a:gd name="connsiteY12" fmla="*/ 6915150 h 11588200"/>
              <a:gd name="connsiteX13" fmla="*/ 6953248 w 8534398"/>
              <a:gd name="connsiteY13" fmla="*/ 6686550 h 11588200"/>
              <a:gd name="connsiteX14" fmla="*/ 7048498 w 8534398"/>
              <a:gd name="connsiteY14" fmla="*/ 6515100 h 11588200"/>
              <a:gd name="connsiteX15" fmla="*/ 7067548 w 8534398"/>
              <a:gd name="connsiteY15" fmla="*/ 6172200 h 11588200"/>
              <a:gd name="connsiteX16" fmla="*/ 7048498 w 8534398"/>
              <a:gd name="connsiteY16" fmla="*/ 5695950 h 11588200"/>
              <a:gd name="connsiteX17" fmla="*/ 7086598 w 8534398"/>
              <a:gd name="connsiteY17" fmla="*/ 5391150 h 11588200"/>
              <a:gd name="connsiteX18" fmla="*/ 7258048 w 8534398"/>
              <a:gd name="connsiteY18" fmla="*/ 5219700 h 11588200"/>
              <a:gd name="connsiteX19" fmla="*/ 7448548 w 8534398"/>
              <a:gd name="connsiteY19" fmla="*/ 5067300 h 11588200"/>
              <a:gd name="connsiteX20" fmla="*/ 7543798 w 8534398"/>
              <a:gd name="connsiteY20" fmla="*/ 4933950 h 11588200"/>
              <a:gd name="connsiteX21" fmla="*/ 7486648 w 8534398"/>
              <a:gd name="connsiteY21" fmla="*/ 4781550 h 11588200"/>
              <a:gd name="connsiteX22" fmla="*/ 7334248 w 8534398"/>
              <a:gd name="connsiteY22" fmla="*/ 4648200 h 11588200"/>
              <a:gd name="connsiteX23" fmla="*/ 7334248 w 8534398"/>
              <a:gd name="connsiteY23" fmla="*/ 4648200 h 11588200"/>
              <a:gd name="connsiteX24" fmla="*/ 7334248 w 8534398"/>
              <a:gd name="connsiteY24" fmla="*/ 4210050 h 11588200"/>
              <a:gd name="connsiteX25" fmla="*/ 7600948 w 8534398"/>
              <a:gd name="connsiteY25" fmla="*/ 4210050 h 11588200"/>
              <a:gd name="connsiteX26" fmla="*/ 7677148 w 8534398"/>
              <a:gd name="connsiteY26" fmla="*/ 4438650 h 11588200"/>
              <a:gd name="connsiteX27" fmla="*/ 7715248 w 8534398"/>
              <a:gd name="connsiteY27" fmla="*/ 4629150 h 11588200"/>
              <a:gd name="connsiteX28" fmla="*/ 7772398 w 8534398"/>
              <a:gd name="connsiteY28" fmla="*/ 4895850 h 11588200"/>
              <a:gd name="connsiteX29" fmla="*/ 7715248 w 8534398"/>
              <a:gd name="connsiteY29" fmla="*/ 5067300 h 11588200"/>
              <a:gd name="connsiteX30" fmla="*/ 7981948 w 8534398"/>
              <a:gd name="connsiteY30" fmla="*/ 5314950 h 11588200"/>
              <a:gd name="connsiteX31" fmla="*/ 8534398 w 8534398"/>
              <a:gd name="connsiteY31" fmla="*/ 5467350 h 11588200"/>
              <a:gd name="connsiteX32" fmla="*/ 8248648 w 8534398"/>
              <a:gd name="connsiteY32" fmla="*/ 19050 h 11588200"/>
              <a:gd name="connsiteX33" fmla="*/ 7600948 w 8534398"/>
              <a:gd name="connsiteY33" fmla="*/ 0 h 11588200"/>
              <a:gd name="connsiteX34" fmla="*/ 7162798 w 8534398"/>
              <a:gd name="connsiteY34" fmla="*/ 0 h 11588200"/>
              <a:gd name="connsiteX35" fmla="*/ 6134098 w 8534398"/>
              <a:gd name="connsiteY35" fmla="*/ 190500 h 11588200"/>
              <a:gd name="connsiteX36" fmla="*/ 5429248 w 8534398"/>
              <a:gd name="connsiteY36" fmla="*/ 209550 h 11588200"/>
              <a:gd name="connsiteX37" fmla="*/ 5467348 w 8534398"/>
              <a:gd name="connsiteY37" fmla="*/ 266700 h 11588200"/>
              <a:gd name="connsiteX38" fmla="*/ 5276848 w 8534398"/>
              <a:gd name="connsiteY38" fmla="*/ 285750 h 11588200"/>
              <a:gd name="connsiteX39" fmla="*/ 5295898 w 8534398"/>
              <a:gd name="connsiteY39" fmla="*/ 400050 h 11588200"/>
              <a:gd name="connsiteX40" fmla="*/ 6229348 w 8534398"/>
              <a:gd name="connsiteY40" fmla="*/ 381000 h 11588200"/>
              <a:gd name="connsiteX41" fmla="*/ 6438898 w 8534398"/>
              <a:gd name="connsiteY41" fmla="*/ 457200 h 11588200"/>
              <a:gd name="connsiteX42" fmla="*/ 6629398 w 8534398"/>
              <a:gd name="connsiteY42" fmla="*/ 876300 h 11588200"/>
              <a:gd name="connsiteX43" fmla="*/ 6800848 w 8534398"/>
              <a:gd name="connsiteY43" fmla="*/ 1581150 h 11588200"/>
              <a:gd name="connsiteX44" fmla="*/ 6915148 w 8534398"/>
              <a:gd name="connsiteY44" fmla="*/ 1733550 h 11588200"/>
              <a:gd name="connsiteX45" fmla="*/ 7067548 w 8534398"/>
              <a:gd name="connsiteY45" fmla="*/ 2019300 h 11588200"/>
              <a:gd name="connsiteX46" fmla="*/ 7315198 w 8534398"/>
              <a:gd name="connsiteY46" fmla="*/ 2057400 h 11588200"/>
              <a:gd name="connsiteX47" fmla="*/ 7258048 w 8534398"/>
              <a:gd name="connsiteY47" fmla="*/ 2209800 h 11588200"/>
              <a:gd name="connsiteX48" fmla="*/ 7258048 w 8534398"/>
              <a:gd name="connsiteY48" fmla="*/ 2209800 h 11588200"/>
              <a:gd name="connsiteX49" fmla="*/ 7353298 w 8534398"/>
              <a:gd name="connsiteY49" fmla="*/ 2495550 h 11588200"/>
              <a:gd name="connsiteX50" fmla="*/ 7467598 w 8534398"/>
              <a:gd name="connsiteY50" fmla="*/ 2609850 h 11588200"/>
              <a:gd name="connsiteX51" fmla="*/ 7600948 w 8534398"/>
              <a:gd name="connsiteY51" fmla="*/ 2762250 h 11588200"/>
              <a:gd name="connsiteX52" fmla="*/ 7658098 w 8534398"/>
              <a:gd name="connsiteY52" fmla="*/ 2914650 h 11588200"/>
              <a:gd name="connsiteX53" fmla="*/ 7600948 w 8534398"/>
              <a:gd name="connsiteY53" fmla="*/ 3124200 h 11588200"/>
              <a:gd name="connsiteX54" fmla="*/ 7372348 w 8534398"/>
              <a:gd name="connsiteY54" fmla="*/ 3333750 h 11588200"/>
              <a:gd name="connsiteX55" fmla="*/ 7277098 w 8534398"/>
              <a:gd name="connsiteY55" fmla="*/ 3505200 h 11588200"/>
              <a:gd name="connsiteX56" fmla="*/ 7296148 w 8534398"/>
              <a:gd name="connsiteY56" fmla="*/ 3676650 h 11588200"/>
              <a:gd name="connsiteX57" fmla="*/ 7467598 w 8534398"/>
              <a:gd name="connsiteY57" fmla="*/ 3867150 h 11588200"/>
              <a:gd name="connsiteX58" fmla="*/ 7562848 w 8534398"/>
              <a:gd name="connsiteY58" fmla="*/ 3981450 h 11588200"/>
              <a:gd name="connsiteX59" fmla="*/ 7581898 w 8534398"/>
              <a:gd name="connsiteY59" fmla="*/ 4191000 h 11588200"/>
              <a:gd name="connsiteX60" fmla="*/ 7334248 w 8534398"/>
              <a:gd name="connsiteY60" fmla="*/ 4210050 h 11588200"/>
              <a:gd name="connsiteX61" fmla="*/ 7296148 w 8534398"/>
              <a:gd name="connsiteY61" fmla="*/ 4629150 h 11588200"/>
              <a:gd name="connsiteX62" fmla="*/ 7296148 w 8534398"/>
              <a:gd name="connsiteY62" fmla="*/ 4629150 h 11588200"/>
              <a:gd name="connsiteX63" fmla="*/ 7505698 w 8534398"/>
              <a:gd name="connsiteY63" fmla="*/ 4857750 h 11588200"/>
              <a:gd name="connsiteX64" fmla="*/ 7543798 w 8534398"/>
              <a:gd name="connsiteY64" fmla="*/ 4933950 h 11588200"/>
              <a:gd name="connsiteX65" fmla="*/ 7410448 w 8534398"/>
              <a:gd name="connsiteY65" fmla="*/ 5124450 h 11588200"/>
              <a:gd name="connsiteX66" fmla="*/ 7181848 w 8534398"/>
              <a:gd name="connsiteY66" fmla="*/ 5257800 h 11588200"/>
              <a:gd name="connsiteX67" fmla="*/ 7086598 w 8534398"/>
              <a:gd name="connsiteY67" fmla="*/ 5391150 h 11588200"/>
              <a:gd name="connsiteX68" fmla="*/ 7086598 w 8534398"/>
              <a:gd name="connsiteY68" fmla="*/ 6172200 h 11588200"/>
              <a:gd name="connsiteX69" fmla="*/ 7086598 w 8534398"/>
              <a:gd name="connsiteY69" fmla="*/ 6343650 h 11588200"/>
              <a:gd name="connsiteX70" fmla="*/ 7010398 w 8534398"/>
              <a:gd name="connsiteY70" fmla="*/ 6572250 h 11588200"/>
              <a:gd name="connsiteX71" fmla="*/ 6915148 w 8534398"/>
              <a:gd name="connsiteY71" fmla="*/ 6819900 h 11588200"/>
              <a:gd name="connsiteX72" fmla="*/ 6857998 w 8534398"/>
              <a:gd name="connsiteY72" fmla="*/ 7048500 h 11588200"/>
              <a:gd name="connsiteX73" fmla="*/ 6857998 w 8534398"/>
              <a:gd name="connsiteY73" fmla="*/ 7296150 h 11588200"/>
              <a:gd name="connsiteX74" fmla="*/ 6800848 w 8534398"/>
              <a:gd name="connsiteY74" fmla="*/ 7962900 h 11588200"/>
              <a:gd name="connsiteX75" fmla="*/ 6515098 w 8534398"/>
              <a:gd name="connsiteY75" fmla="*/ 8477250 h 11588200"/>
              <a:gd name="connsiteX76" fmla="*/ 6153148 w 8534398"/>
              <a:gd name="connsiteY76" fmla="*/ 8953500 h 11588200"/>
              <a:gd name="connsiteX77" fmla="*/ 5962648 w 8534398"/>
              <a:gd name="connsiteY77" fmla="*/ 9315450 h 11588200"/>
              <a:gd name="connsiteX78" fmla="*/ 5657848 w 8534398"/>
              <a:gd name="connsiteY78" fmla="*/ 9886950 h 11588200"/>
              <a:gd name="connsiteX79" fmla="*/ 5105398 w 8534398"/>
              <a:gd name="connsiteY79" fmla="*/ 10687050 h 11588200"/>
              <a:gd name="connsiteX80" fmla="*/ 4991098 w 8534398"/>
              <a:gd name="connsiteY80" fmla="*/ 11258549 h 11588200"/>
              <a:gd name="connsiteX81" fmla="*/ 3028948 w 8534398"/>
              <a:gd name="connsiteY81" fmla="*/ 11582399 h 11588200"/>
              <a:gd name="connsiteX82" fmla="*/ 857248 w 8534398"/>
              <a:gd name="connsiteY82" fmla="*/ 11220449 h 11588200"/>
              <a:gd name="connsiteX83" fmla="*/ 666748 w 8534398"/>
              <a:gd name="connsiteY83" fmla="*/ 11182349 h 11588200"/>
              <a:gd name="connsiteX84" fmla="*/ 400048 w 8534398"/>
              <a:gd name="connsiteY84" fmla="*/ 11353799 h 11588200"/>
              <a:gd name="connsiteX85" fmla="*/ 419099 w 8534398"/>
              <a:gd name="connsiteY85" fmla="*/ 9848849 h 11588200"/>
              <a:gd name="connsiteX86" fmla="*/ 0 w 8534398"/>
              <a:gd name="connsiteY86" fmla="*/ 9791699 h 11588200"/>
              <a:gd name="connsiteX0" fmla="*/ 1059742 w 8565442"/>
              <a:gd name="connsiteY0" fmla="*/ 8362950 h 11588200"/>
              <a:gd name="connsiteX1" fmla="*/ 1059742 w 8565442"/>
              <a:gd name="connsiteY1" fmla="*/ 8362950 h 11588200"/>
              <a:gd name="connsiteX2" fmla="*/ 1021642 w 8565442"/>
              <a:gd name="connsiteY2" fmla="*/ 7524750 h 11588200"/>
              <a:gd name="connsiteX3" fmla="*/ 1955092 w 8565442"/>
              <a:gd name="connsiteY3" fmla="*/ 7562850 h 11588200"/>
              <a:gd name="connsiteX4" fmla="*/ 1993192 w 8565442"/>
              <a:gd name="connsiteY4" fmla="*/ 6705600 h 11588200"/>
              <a:gd name="connsiteX5" fmla="*/ 1574092 w 8565442"/>
              <a:gd name="connsiteY5" fmla="*/ 6705600 h 11588200"/>
              <a:gd name="connsiteX6" fmla="*/ 1593142 w 8565442"/>
              <a:gd name="connsiteY6" fmla="*/ 6496050 h 11588200"/>
              <a:gd name="connsiteX7" fmla="*/ 2278942 w 8565442"/>
              <a:gd name="connsiteY7" fmla="*/ 6572250 h 11588200"/>
              <a:gd name="connsiteX8" fmla="*/ 3650542 w 8565442"/>
              <a:gd name="connsiteY8" fmla="*/ 6629400 h 11588200"/>
              <a:gd name="connsiteX9" fmla="*/ 3612442 w 8565442"/>
              <a:gd name="connsiteY9" fmla="*/ 7448550 h 11588200"/>
              <a:gd name="connsiteX10" fmla="*/ 6317542 w 8565442"/>
              <a:gd name="connsiteY10" fmla="*/ 7620000 h 11588200"/>
              <a:gd name="connsiteX11" fmla="*/ 6889042 w 8565442"/>
              <a:gd name="connsiteY11" fmla="*/ 7181850 h 11588200"/>
              <a:gd name="connsiteX12" fmla="*/ 6908092 w 8565442"/>
              <a:gd name="connsiteY12" fmla="*/ 6915150 h 11588200"/>
              <a:gd name="connsiteX13" fmla="*/ 6984292 w 8565442"/>
              <a:gd name="connsiteY13" fmla="*/ 6686550 h 11588200"/>
              <a:gd name="connsiteX14" fmla="*/ 7079542 w 8565442"/>
              <a:gd name="connsiteY14" fmla="*/ 6515100 h 11588200"/>
              <a:gd name="connsiteX15" fmla="*/ 7098592 w 8565442"/>
              <a:gd name="connsiteY15" fmla="*/ 6172200 h 11588200"/>
              <a:gd name="connsiteX16" fmla="*/ 7079542 w 8565442"/>
              <a:gd name="connsiteY16" fmla="*/ 5695950 h 11588200"/>
              <a:gd name="connsiteX17" fmla="*/ 7117642 w 8565442"/>
              <a:gd name="connsiteY17" fmla="*/ 5391150 h 11588200"/>
              <a:gd name="connsiteX18" fmla="*/ 7289092 w 8565442"/>
              <a:gd name="connsiteY18" fmla="*/ 5219700 h 11588200"/>
              <a:gd name="connsiteX19" fmla="*/ 7479592 w 8565442"/>
              <a:gd name="connsiteY19" fmla="*/ 5067300 h 11588200"/>
              <a:gd name="connsiteX20" fmla="*/ 7574842 w 8565442"/>
              <a:gd name="connsiteY20" fmla="*/ 4933950 h 11588200"/>
              <a:gd name="connsiteX21" fmla="*/ 7517692 w 8565442"/>
              <a:gd name="connsiteY21" fmla="*/ 4781550 h 11588200"/>
              <a:gd name="connsiteX22" fmla="*/ 7365292 w 8565442"/>
              <a:gd name="connsiteY22" fmla="*/ 4648200 h 11588200"/>
              <a:gd name="connsiteX23" fmla="*/ 7365292 w 8565442"/>
              <a:gd name="connsiteY23" fmla="*/ 4648200 h 11588200"/>
              <a:gd name="connsiteX24" fmla="*/ 7365292 w 8565442"/>
              <a:gd name="connsiteY24" fmla="*/ 4210050 h 11588200"/>
              <a:gd name="connsiteX25" fmla="*/ 7631992 w 8565442"/>
              <a:gd name="connsiteY25" fmla="*/ 4210050 h 11588200"/>
              <a:gd name="connsiteX26" fmla="*/ 7708192 w 8565442"/>
              <a:gd name="connsiteY26" fmla="*/ 4438650 h 11588200"/>
              <a:gd name="connsiteX27" fmla="*/ 7746292 w 8565442"/>
              <a:gd name="connsiteY27" fmla="*/ 4629150 h 11588200"/>
              <a:gd name="connsiteX28" fmla="*/ 7803442 w 8565442"/>
              <a:gd name="connsiteY28" fmla="*/ 4895850 h 11588200"/>
              <a:gd name="connsiteX29" fmla="*/ 7746292 w 8565442"/>
              <a:gd name="connsiteY29" fmla="*/ 5067300 h 11588200"/>
              <a:gd name="connsiteX30" fmla="*/ 8012992 w 8565442"/>
              <a:gd name="connsiteY30" fmla="*/ 5314950 h 11588200"/>
              <a:gd name="connsiteX31" fmla="*/ 8565442 w 8565442"/>
              <a:gd name="connsiteY31" fmla="*/ 5467350 h 11588200"/>
              <a:gd name="connsiteX32" fmla="*/ 8279692 w 8565442"/>
              <a:gd name="connsiteY32" fmla="*/ 19050 h 11588200"/>
              <a:gd name="connsiteX33" fmla="*/ 7631992 w 8565442"/>
              <a:gd name="connsiteY33" fmla="*/ 0 h 11588200"/>
              <a:gd name="connsiteX34" fmla="*/ 7193842 w 8565442"/>
              <a:gd name="connsiteY34" fmla="*/ 0 h 11588200"/>
              <a:gd name="connsiteX35" fmla="*/ 6165142 w 8565442"/>
              <a:gd name="connsiteY35" fmla="*/ 190500 h 11588200"/>
              <a:gd name="connsiteX36" fmla="*/ 5460292 w 8565442"/>
              <a:gd name="connsiteY36" fmla="*/ 209550 h 11588200"/>
              <a:gd name="connsiteX37" fmla="*/ 5498392 w 8565442"/>
              <a:gd name="connsiteY37" fmla="*/ 266700 h 11588200"/>
              <a:gd name="connsiteX38" fmla="*/ 5307892 w 8565442"/>
              <a:gd name="connsiteY38" fmla="*/ 285750 h 11588200"/>
              <a:gd name="connsiteX39" fmla="*/ 5326942 w 8565442"/>
              <a:gd name="connsiteY39" fmla="*/ 400050 h 11588200"/>
              <a:gd name="connsiteX40" fmla="*/ 6260392 w 8565442"/>
              <a:gd name="connsiteY40" fmla="*/ 381000 h 11588200"/>
              <a:gd name="connsiteX41" fmla="*/ 6469942 w 8565442"/>
              <a:gd name="connsiteY41" fmla="*/ 457200 h 11588200"/>
              <a:gd name="connsiteX42" fmla="*/ 6660442 w 8565442"/>
              <a:gd name="connsiteY42" fmla="*/ 876300 h 11588200"/>
              <a:gd name="connsiteX43" fmla="*/ 6831892 w 8565442"/>
              <a:gd name="connsiteY43" fmla="*/ 1581150 h 11588200"/>
              <a:gd name="connsiteX44" fmla="*/ 6946192 w 8565442"/>
              <a:gd name="connsiteY44" fmla="*/ 1733550 h 11588200"/>
              <a:gd name="connsiteX45" fmla="*/ 7098592 w 8565442"/>
              <a:gd name="connsiteY45" fmla="*/ 2019300 h 11588200"/>
              <a:gd name="connsiteX46" fmla="*/ 7346242 w 8565442"/>
              <a:gd name="connsiteY46" fmla="*/ 2057400 h 11588200"/>
              <a:gd name="connsiteX47" fmla="*/ 7289092 w 8565442"/>
              <a:gd name="connsiteY47" fmla="*/ 2209800 h 11588200"/>
              <a:gd name="connsiteX48" fmla="*/ 7289092 w 8565442"/>
              <a:gd name="connsiteY48" fmla="*/ 2209800 h 11588200"/>
              <a:gd name="connsiteX49" fmla="*/ 7384342 w 8565442"/>
              <a:gd name="connsiteY49" fmla="*/ 2495550 h 11588200"/>
              <a:gd name="connsiteX50" fmla="*/ 7498642 w 8565442"/>
              <a:gd name="connsiteY50" fmla="*/ 2609850 h 11588200"/>
              <a:gd name="connsiteX51" fmla="*/ 7631992 w 8565442"/>
              <a:gd name="connsiteY51" fmla="*/ 2762250 h 11588200"/>
              <a:gd name="connsiteX52" fmla="*/ 7689142 w 8565442"/>
              <a:gd name="connsiteY52" fmla="*/ 2914650 h 11588200"/>
              <a:gd name="connsiteX53" fmla="*/ 7631992 w 8565442"/>
              <a:gd name="connsiteY53" fmla="*/ 3124200 h 11588200"/>
              <a:gd name="connsiteX54" fmla="*/ 7403392 w 8565442"/>
              <a:gd name="connsiteY54" fmla="*/ 3333750 h 11588200"/>
              <a:gd name="connsiteX55" fmla="*/ 7308142 w 8565442"/>
              <a:gd name="connsiteY55" fmla="*/ 3505200 h 11588200"/>
              <a:gd name="connsiteX56" fmla="*/ 7327192 w 8565442"/>
              <a:gd name="connsiteY56" fmla="*/ 3676650 h 11588200"/>
              <a:gd name="connsiteX57" fmla="*/ 7498642 w 8565442"/>
              <a:gd name="connsiteY57" fmla="*/ 3867150 h 11588200"/>
              <a:gd name="connsiteX58" fmla="*/ 7593892 w 8565442"/>
              <a:gd name="connsiteY58" fmla="*/ 3981450 h 11588200"/>
              <a:gd name="connsiteX59" fmla="*/ 7612942 w 8565442"/>
              <a:gd name="connsiteY59" fmla="*/ 4191000 h 11588200"/>
              <a:gd name="connsiteX60" fmla="*/ 7365292 w 8565442"/>
              <a:gd name="connsiteY60" fmla="*/ 4210050 h 11588200"/>
              <a:gd name="connsiteX61" fmla="*/ 7327192 w 8565442"/>
              <a:gd name="connsiteY61" fmla="*/ 4629150 h 11588200"/>
              <a:gd name="connsiteX62" fmla="*/ 7327192 w 8565442"/>
              <a:gd name="connsiteY62" fmla="*/ 4629150 h 11588200"/>
              <a:gd name="connsiteX63" fmla="*/ 7536742 w 8565442"/>
              <a:gd name="connsiteY63" fmla="*/ 4857750 h 11588200"/>
              <a:gd name="connsiteX64" fmla="*/ 7574842 w 8565442"/>
              <a:gd name="connsiteY64" fmla="*/ 4933950 h 11588200"/>
              <a:gd name="connsiteX65" fmla="*/ 7441492 w 8565442"/>
              <a:gd name="connsiteY65" fmla="*/ 5124450 h 11588200"/>
              <a:gd name="connsiteX66" fmla="*/ 7212892 w 8565442"/>
              <a:gd name="connsiteY66" fmla="*/ 5257800 h 11588200"/>
              <a:gd name="connsiteX67" fmla="*/ 7117642 w 8565442"/>
              <a:gd name="connsiteY67" fmla="*/ 5391150 h 11588200"/>
              <a:gd name="connsiteX68" fmla="*/ 7117642 w 8565442"/>
              <a:gd name="connsiteY68" fmla="*/ 6172200 h 11588200"/>
              <a:gd name="connsiteX69" fmla="*/ 7117642 w 8565442"/>
              <a:gd name="connsiteY69" fmla="*/ 6343650 h 11588200"/>
              <a:gd name="connsiteX70" fmla="*/ 7041442 w 8565442"/>
              <a:gd name="connsiteY70" fmla="*/ 6572250 h 11588200"/>
              <a:gd name="connsiteX71" fmla="*/ 6946192 w 8565442"/>
              <a:gd name="connsiteY71" fmla="*/ 6819900 h 11588200"/>
              <a:gd name="connsiteX72" fmla="*/ 6889042 w 8565442"/>
              <a:gd name="connsiteY72" fmla="*/ 7048500 h 11588200"/>
              <a:gd name="connsiteX73" fmla="*/ 6889042 w 8565442"/>
              <a:gd name="connsiteY73" fmla="*/ 7296150 h 11588200"/>
              <a:gd name="connsiteX74" fmla="*/ 6831892 w 8565442"/>
              <a:gd name="connsiteY74" fmla="*/ 7962900 h 11588200"/>
              <a:gd name="connsiteX75" fmla="*/ 6546142 w 8565442"/>
              <a:gd name="connsiteY75" fmla="*/ 8477250 h 11588200"/>
              <a:gd name="connsiteX76" fmla="*/ 6184192 w 8565442"/>
              <a:gd name="connsiteY76" fmla="*/ 8953500 h 11588200"/>
              <a:gd name="connsiteX77" fmla="*/ 5993692 w 8565442"/>
              <a:gd name="connsiteY77" fmla="*/ 9315450 h 11588200"/>
              <a:gd name="connsiteX78" fmla="*/ 5688892 w 8565442"/>
              <a:gd name="connsiteY78" fmla="*/ 9886950 h 11588200"/>
              <a:gd name="connsiteX79" fmla="*/ 5136442 w 8565442"/>
              <a:gd name="connsiteY79" fmla="*/ 10687050 h 11588200"/>
              <a:gd name="connsiteX80" fmla="*/ 5022142 w 8565442"/>
              <a:gd name="connsiteY80" fmla="*/ 11258549 h 11588200"/>
              <a:gd name="connsiteX81" fmla="*/ 3059992 w 8565442"/>
              <a:gd name="connsiteY81" fmla="*/ 11582399 h 11588200"/>
              <a:gd name="connsiteX82" fmla="*/ 888292 w 8565442"/>
              <a:gd name="connsiteY82" fmla="*/ 11220449 h 11588200"/>
              <a:gd name="connsiteX83" fmla="*/ 697792 w 8565442"/>
              <a:gd name="connsiteY83" fmla="*/ 11182349 h 11588200"/>
              <a:gd name="connsiteX84" fmla="*/ 431092 w 8565442"/>
              <a:gd name="connsiteY84" fmla="*/ 11353799 h 11588200"/>
              <a:gd name="connsiteX85" fmla="*/ 450143 w 8565442"/>
              <a:gd name="connsiteY85" fmla="*/ 9848849 h 11588200"/>
              <a:gd name="connsiteX86" fmla="*/ 31044 w 8565442"/>
              <a:gd name="connsiteY86" fmla="*/ 9791699 h 11588200"/>
              <a:gd name="connsiteX87" fmla="*/ 31044 w 8565442"/>
              <a:gd name="connsiteY87" fmla="*/ 97345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74380 w 8551628"/>
              <a:gd name="connsiteY88" fmla="*/ 74866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89" fmla="*/ 874480 w 8551628"/>
              <a:gd name="connsiteY89" fmla="*/ 75056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89" fmla="*/ 588730 w 8551628"/>
              <a:gd name="connsiteY89" fmla="*/ 80200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874480 w 8551628"/>
              <a:gd name="connsiteY88" fmla="*/ 7505699 h 11588200"/>
              <a:gd name="connsiteX89" fmla="*/ 969730 w 8551628"/>
              <a:gd name="connsiteY89" fmla="*/ 82295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969730 w 8551628"/>
              <a:gd name="connsiteY90" fmla="*/ 81914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94" fmla="*/ 550630 w 8551628"/>
              <a:gd name="connsiteY94" fmla="*/ 807719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94" fmla="*/ 550630 w 8551628"/>
              <a:gd name="connsiteY94" fmla="*/ 8077199 h 11588200"/>
              <a:gd name="connsiteX95" fmla="*/ 550630 w 8551628"/>
              <a:gd name="connsiteY95" fmla="*/ 80581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94" fmla="*/ 550630 w 8551628"/>
              <a:gd name="connsiteY94" fmla="*/ 8077199 h 11588200"/>
              <a:gd name="connsiteX95" fmla="*/ 550630 w 8551628"/>
              <a:gd name="connsiteY95" fmla="*/ 80581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94" fmla="*/ 550630 w 8551628"/>
              <a:gd name="connsiteY94" fmla="*/ 807719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588730 w 8551628"/>
              <a:gd name="connsiteY93" fmla="*/ 8077199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626830 w 8551628"/>
              <a:gd name="connsiteY92" fmla="*/ 8096249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722080 w 8551628"/>
              <a:gd name="connsiteY90" fmla="*/ 8096249 h 11588200"/>
              <a:gd name="connsiteX91" fmla="*/ 683980 w 8551628"/>
              <a:gd name="connsiteY91" fmla="*/ 8096249 h 11588200"/>
              <a:gd name="connsiteX92" fmla="*/ 400919 w 8551628"/>
              <a:gd name="connsiteY92" fmla="*/ 8257614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683980 w 8551628"/>
              <a:gd name="connsiteY91" fmla="*/ 8096249 h 11588200"/>
              <a:gd name="connsiteX92" fmla="*/ 400919 w 8551628"/>
              <a:gd name="connsiteY92" fmla="*/ 8257614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00919 w 8551628"/>
              <a:gd name="connsiteY92" fmla="*/ 8257614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17055 w 8551628"/>
              <a:gd name="connsiteY92" fmla="*/ 8268371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17055 w 8551628"/>
              <a:gd name="connsiteY92" fmla="*/ 8268371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96" fmla="*/ 325168 w 8551628"/>
              <a:gd name="connsiteY96" fmla="*/ 9028578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17055 w 8551628"/>
              <a:gd name="connsiteY92" fmla="*/ 8268371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335477 w 8551628"/>
              <a:gd name="connsiteY95" fmla="*/ 9031716 h 11588200"/>
              <a:gd name="connsiteX96" fmla="*/ 621004 w 8551628"/>
              <a:gd name="connsiteY96" fmla="*/ 9620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17055 w 8551628"/>
              <a:gd name="connsiteY92" fmla="*/ 8268371 h 11588200"/>
              <a:gd name="connsiteX93" fmla="*/ 373577 w 8551628"/>
              <a:gd name="connsiteY93" fmla="*/ 8485990 h 11588200"/>
              <a:gd name="connsiteX94" fmla="*/ 351614 w 8551628"/>
              <a:gd name="connsiteY94" fmla="*/ 8717279 h 11588200"/>
              <a:gd name="connsiteX95" fmla="*/ 469948 w 8551628"/>
              <a:gd name="connsiteY95" fmla="*/ 9531947 h 11588200"/>
              <a:gd name="connsiteX96" fmla="*/ 621004 w 8551628"/>
              <a:gd name="connsiteY96" fmla="*/ 9620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417055 w 8551628"/>
              <a:gd name="connsiteY92" fmla="*/ 8268371 h 11588200"/>
              <a:gd name="connsiteX93" fmla="*/ 373577 w 8551628"/>
              <a:gd name="connsiteY93" fmla="*/ 8485990 h 11588200"/>
              <a:gd name="connsiteX94" fmla="*/ 351614 w 8551628"/>
              <a:gd name="connsiteY94" fmla="*/ 9438041 h 11588200"/>
              <a:gd name="connsiteX95" fmla="*/ 469948 w 8551628"/>
              <a:gd name="connsiteY95" fmla="*/ 9531947 h 11588200"/>
              <a:gd name="connsiteX96" fmla="*/ 621004 w 8551628"/>
              <a:gd name="connsiteY96" fmla="*/ 9620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73577 w 8551628"/>
              <a:gd name="connsiteY93" fmla="*/ 8485990 h 11588200"/>
              <a:gd name="connsiteX94" fmla="*/ 351614 w 8551628"/>
              <a:gd name="connsiteY94" fmla="*/ 9438041 h 11588200"/>
              <a:gd name="connsiteX95" fmla="*/ 469948 w 8551628"/>
              <a:gd name="connsiteY95" fmla="*/ 9531947 h 11588200"/>
              <a:gd name="connsiteX96" fmla="*/ 621004 w 8551628"/>
              <a:gd name="connsiteY96" fmla="*/ 9620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351614 w 8551628"/>
              <a:gd name="connsiteY94" fmla="*/ 9438041 h 11588200"/>
              <a:gd name="connsiteX95" fmla="*/ 469948 w 8551628"/>
              <a:gd name="connsiteY95" fmla="*/ 9531947 h 11588200"/>
              <a:gd name="connsiteX96" fmla="*/ 621004 w 8551628"/>
              <a:gd name="connsiteY96" fmla="*/ 9620249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351614 w 8551628"/>
              <a:gd name="connsiteY94" fmla="*/ 9438041 h 11588200"/>
              <a:gd name="connsiteX95" fmla="*/ 469948 w 8551628"/>
              <a:gd name="connsiteY95" fmla="*/ 9531947 h 11588200"/>
              <a:gd name="connsiteX96" fmla="*/ 1013658 w 8551628"/>
              <a:gd name="connsiteY96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351614 w 8551628"/>
              <a:gd name="connsiteY94" fmla="*/ 9438041 h 11588200"/>
              <a:gd name="connsiteX95" fmla="*/ 916390 w 8551628"/>
              <a:gd name="connsiteY95" fmla="*/ 9505053 h 11588200"/>
              <a:gd name="connsiteX96" fmla="*/ 1013658 w 8551628"/>
              <a:gd name="connsiteY96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916390 w 8551628"/>
              <a:gd name="connsiteY95" fmla="*/ 9505053 h 11588200"/>
              <a:gd name="connsiteX96" fmla="*/ 1013658 w 8551628"/>
              <a:gd name="connsiteY96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3510 w 8551628"/>
              <a:gd name="connsiteY95" fmla="*/ 9596493 h 11588200"/>
              <a:gd name="connsiteX96" fmla="*/ 1013658 w 8551628"/>
              <a:gd name="connsiteY96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1013658 w 8551628"/>
              <a:gd name="connsiteY96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1013658 w 8551628"/>
              <a:gd name="connsiteY96" fmla="*/ 9270625 h 11588200"/>
              <a:gd name="connsiteX97" fmla="*/ 1013657 w 8551628"/>
              <a:gd name="connsiteY97" fmla="*/ 9270625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1013658 w 8551628"/>
              <a:gd name="connsiteY96" fmla="*/ 9270625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65249 w 8551628"/>
              <a:gd name="connsiteY96" fmla="*/ 9491157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86764 w 8551628"/>
              <a:gd name="connsiteY96" fmla="*/ 9469642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86764 w 8551628"/>
              <a:gd name="connsiteY96" fmla="*/ 9469642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86764 w 8551628"/>
              <a:gd name="connsiteY96" fmla="*/ 9469642 h 11588200"/>
              <a:gd name="connsiteX97" fmla="*/ 1029794 w 8551628"/>
              <a:gd name="connsiteY97" fmla="*/ 8964033 h 11588200"/>
              <a:gd name="connsiteX98" fmla="*/ 1051309 w 8551628"/>
              <a:gd name="connsiteY98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86764 w 8551628"/>
              <a:gd name="connsiteY96" fmla="*/ 9469642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7828 w 8551628"/>
              <a:gd name="connsiteY2" fmla="*/ 7524750 h 11588200"/>
              <a:gd name="connsiteX3" fmla="*/ 1941278 w 8551628"/>
              <a:gd name="connsiteY3" fmla="*/ 7562850 h 11588200"/>
              <a:gd name="connsiteX4" fmla="*/ 1979378 w 8551628"/>
              <a:gd name="connsiteY4" fmla="*/ 6705600 h 11588200"/>
              <a:gd name="connsiteX5" fmla="*/ 1560278 w 8551628"/>
              <a:gd name="connsiteY5" fmla="*/ 6705600 h 11588200"/>
              <a:gd name="connsiteX6" fmla="*/ 1579328 w 8551628"/>
              <a:gd name="connsiteY6" fmla="*/ 6496050 h 11588200"/>
              <a:gd name="connsiteX7" fmla="*/ 2265128 w 8551628"/>
              <a:gd name="connsiteY7" fmla="*/ 6572250 h 11588200"/>
              <a:gd name="connsiteX8" fmla="*/ 3636728 w 8551628"/>
              <a:gd name="connsiteY8" fmla="*/ 6629400 h 11588200"/>
              <a:gd name="connsiteX9" fmla="*/ 3598628 w 8551628"/>
              <a:gd name="connsiteY9" fmla="*/ 7448550 h 11588200"/>
              <a:gd name="connsiteX10" fmla="*/ 6303728 w 8551628"/>
              <a:gd name="connsiteY10" fmla="*/ 7620000 h 11588200"/>
              <a:gd name="connsiteX11" fmla="*/ 6875228 w 8551628"/>
              <a:gd name="connsiteY11" fmla="*/ 7181850 h 11588200"/>
              <a:gd name="connsiteX12" fmla="*/ 6894278 w 8551628"/>
              <a:gd name="connsiteY12" fmla="*/ 6915150 h 11588200"/>
              <a:gd name="connsiteX13" fmla="*/ 6970478 w 8551628"/>
              <a:gd name="connsiteY13" fmla="*/ 6686550 h 11588200"/>
              <a:gd name="connsiteX14" fmla="*/ 7065728 w 8551628"/>
              <a:gd name="connsiteY14" fmla="*/ 6515100 h 11588200"/>
              <a:gd name="connsiteX15" fmla="*/ 7084778 w 8551628"/>
              <a:gd name="connsiteY15" fmla="*/ 6172200 h 11588200"/>
              <a:gd name="connsiteX16" fmla="*/ 7065728 w 8551628"/>
              <a:gd name="connsiteY16" fmla="*/ 5695950 h 11588200"/>
              <a:gd name="connsiteX17" fmla="*/ 7103828 w 8551628"/>
              <a:gd name="connsiteY17" fmla="*/ 5391150 h 11588200"/>
              <a:gd name="connsiteX18" fmla="*/ 7275278 w 8551628"/>
              <a:gd name="connsiteY18" fmla="*/ 5219700 h 11588200"/>
              <a:gd name="connsiteX19" fmla="*/ 7465778 w 8551628"/>
              <a:gd name="connsiteY19" fmla="*/ 5067300 h 11588200"/>
              <a:gd name="connsiteX20" fmla="*/ 7561028 w 8551628"/>
              <a:gd name="connsiteY20" fmla="*/ 4933950 h 11588200"/>
              <a:gd name="connsiteX21" fmla="*/ 7503878 w 8551628"/>
              <a:gd name="connsiteY21" fmla="*/ 4781550 h 11588200"/>
              <a:gd name="connsiteX22" fmla="*/ 7351478 w 8551628"/>
              <a:gd name="connsiteY22" fmla="*/ 4648200 h 11588200"/>
              <a:gd name="connsiteX23" fmla="*/ 7351478 w 8551628"/>
              <a:gd name="connsiteY23" fmla="*/ 4648200 h 11588200"/>
              <a:gd name="connsiteX24" fmla="*/ 7351478 w 8551628"/>
              <a:gd name="connsiteY24" fmla="*/ 4210050 h 11588200"/>
              <a:gd name="connsiteX25" fmla="*/ 7618178 w 8551628"/>
              <a:gd name="connsiteY25" fmla="*/ 4210050 h 11588200"/>
              <a:gd name="connsiteX26" fmla="*/ 7694378 w 8551628"/>
              <a:gd name="connsiteY26" fmla="*/ 4438650 h 11588200"/>
              <a:gd name="connsiteX27" fmla="*/ 7732478 w 8551628"/>
              <a:gd name="connsiteY27" fmla="*/ 4629150 h 11588200"/>
              <a:gd name="connsiteX28" fmla="*/ 7789628 w 8551628"/>
              <a:gd name="connsiteY28" fmla="*/ 4895850 h 11588200"/>
              <a:gd name="connsiteX29" fmla="*/ 7732478 w 8551628"/>
              <a:gd name="connsiteY29" fmla="*/ 5067300 h 11588200"/>
              <a:gd name="connsiteX30" fmla="*/ 7999178 w 8551628"/>
              <a:gd name="connsiteY30" fmla="*/ 5314950 h 11588200"/>
              <a:gd name="connsiteX31" fmla="*/ 8551628 w 8551628"/>
              <a:gd name="connsiteY31" fmla="*/ 5467350 h 11588200"/>
              <a:gd name="connsiteX32" fmla="*/ 8265878 w 8551628"/>
              <a:gd name="connsiteY32" fmla="*/ 19050 h 11588200"/>
              <a:gd name="connsiteX33" fmla="*/ 7618178 w 8551628"/>
              <a:gd name="connsiteY33" fmla="*/ 0 h 11588200"/>
              <a:gd name="connsiteX34" fmla="*/ 7180028 w 8551628"/>
              <a:gd name="connsiteY34" fmla="*/ 0 h 11588200"/>
              <a:gd name="connsiteX35" fmla="*/ 6151328 w 8551628"/>
              <a:gd name="connsiteY35" fmla="*/ 190500 h 11588200"/>
              <a:gd name="connsiteX36" fmla="*/ 5446478 w 8551628"/>
              <a:gd name="connsiteY36" fmla="*/ 209550 h 11588200"/>
              <a:gd name="connsiteX37" fmla="*/ 5484578 w 8551628"/>
              <a:gd name="connsiteY37" fmla="*/ 266700 h 11588200"/>
              <a:gd name="connsiteX38" fmla="*/ 5294078 w 8551628"/>
              <a:gd name="connsiteY38" fmla="*/ 285750 h 11588200"/>
              <a:gd name="connsiteX39" fmla="*/ 5313128 w 8551628"/>
              <a:gd name="connsiteY39" fmla="*/ 400050 h 11588200"/>
              <a:gd name="connsiteX40" fmla="*/ 6246578 w 8551628"/>
              <a:gd name="connsiteY40" fmla="*/ 381000 h 11588200"/>
              <a:gd name="connsiteX41" fmla="*/ 6456128 w 8551628"/>
              <a:gd name="connsiteY41" fmla="*/ 457200 h 11588200"/>
              <a:gd name="connsiteX42" fmla="*/ 6646628 w 8551628"/>
              <a:gd name="connsiteY42" fmla="*/ 876300 h 11588200"/>
              <a:gd name="connsiteX43" fmla="*/ 6818078 w 8551628"/>
              <a:gd name="connsiteY43" fmla="*/ 1581150 h 11588200"/>
              <a:gd name="connsiteX44" fmla="*/ 6932378 w 8551628"/>
              <a:gd name="connsiteY44" fmla="*/ 1733550 h 11588200"/>
              <a:gd name="connsiteX45" fmla="*/ 7084778 w 8551628"/>
              <a:gd name="connsiteY45" fmla="*/ 2019300 h 11588200"/>
              <a:gd name="connsiteX46" fmla="*/ 7332428 w 8551628"/>
              <a:gd name="connsiteY46" fmla="*/ 2057400 h 11588200"/>
              <a:gd name="connsiteX47" fmla="*/ 7275278 w 8551628"/>
              <a:gd name="connsiteY47" fmla="*/ 2209800 h 11588200"/>
              <a:gd name="connsiteX48" fmla="*/ 7275278 w 8551628"/>
              <a:gd name="connsiteY48" fmla="*/ 2209800 h 11588200"/>
              <a:gd name="connsiteX49" fmla="*/ 7370528 w 8551628"/>
              <a:gd name="connsiteY49" fmla="*/ 2495550 h 11588200"/>
              <a:gd name="connsiteX50" fmla="*/ 7484828 w 8551628"/>
              <a:gd name="connsiteY50" fmla="*/ 2609850 h 11588200"/>
              <a:gd name="connsiteX51" fmla="*/ 7618178 w 8551628"/>
              <a:gd name="connsiteY51" fmla="*/ 2762250 h 11588200"/>
              <a:gd name="connsiteX52" fmla="*/ 7675328 w 8551628"/>
              <a:gd name="connsiteY52" fmla="*/ 2914650 h 11588200"/>
              <a:gd name="connsiteX53" fmla="*/ 7618178 w 8551628"/>
              <a:gd name="connsiteY53" fmla="*/ 3124200 h 11588200"/>
              <a:gd name="connsiteX54" fmla="*/ 7389578 w 8551628"/>
              <a:gd name="connsiteY54" fmla="*/ 3333750 h 11588200"/>
              <a:gd name="connsiteX55" fmla="*/ 7294328 w 8551628"/>
              <a:gd name="connsiteY55" fmla="*/ 3505200 h 11588200"/>
              <a:gd name="connsiteX56" fmla="*/ 7313378 w 8551628"/>
              <a:gd name="connsiteY56" fmla="*/ 3676650 h 11588200"/>
              <a:gd name="connsiteX57" fmla="*/ 7484828 w 8551628"/>
              <a:gd name="connsiteY57" fmla="*/ 3867150 h 11588200"/>
              <a:gd name="connsiteX58" fmla="*/ 7580078 w 8551628"/>
              <a:gd name="connsiteY58" fmla="*/ 3981450 h 11588200"/>
              <a:gd name="connsiteX59" fmla="*/ 7599128 w 8551628"/>
              <a:gd name="connsiteY59" fmla="*/ 4191000 h 11588200"/>
              <a:gd name="connsiteX60" fmla="*/ 7351478 w 8551628"/>
              <a:gd name="connsiteY60" fmla="*/ 4210050 h 11588200"/>
              <a:gd name="connsiteX61" fmla="*/ 7313378 w 8551628"/>
              <a:gd name="connsiteY61" fmla="*/ 4629150 h 11588200"/>
              <a:gd name="connsiteX62" fmla="*/ 7313378 w 8551628"/>
              <a:gd name="connsiteY62" fmla="*/ 4629150 h 11588200"/>
              <a:gd name="connsiteX63" fmla="*/ 7522928 w 8551628"/>
              <a:gd name="connsiteY63" fmla="*/ 4857750 h 11588200"/>
              <a:gd name="connsiteX64" fmla="*/ 7561028 w 8551628"/>
              <a:gd name="connsiteY64" fmla="*/ 4933950 h 11588200"/>
              <a:gd name="connsiteX65" fmla="*/ 7427678 w 8551628"/>
              <a:gd name="connsiteY65" fmla="*/ 5124450 h 11588200"/>
              <a:gd name="connsiteX66" fmla="*/ 7199078 w 8551628"/>
              <a:gd name="connsiteY66" fmla="*/ 5257800 h 11588200"/>
              <a:gd name="connsiteX67" fmla="*/ 7103828 w 8551628"/>
              <a:gd name="connsiteY67" fmla="*/ 5391150 h 11588200"/>
              <a:gd name="connsiteX68" fmla="*/ 7103828 w 8551628"/>
              <a:gd name="connsiteY68" fmla="*/ 6172200 h 11588200"/>
              <a:gd name="connsiteX69" fmla="*/ 7103828 w 8551628"/>
              <a:gd name="connsiteY69" fmla="*/ 6343650 h 11588200"/>
              <a:gd name="connsiteX70" fmla="*/ 7027628 w 8551628"/>
              <a:gd name="connsiteY70" fmla="*/ 6572250 h 11588200"/>
              <a:gd name="connsiteX71" fmla="*/ 6932378 w 8551628"/>
              <a:gd name="connsiteY71" fmla="*/ 6819900 h 11588200"/>
              <a:gd name="connsiteX72" fmla="*/ 6875228 w 8551628"/>
              <a:gd name="connsiteY72" fmla="*/ 7048500 h 11588200"/>
              <a:gd name="connsiteX73" fmla="*/ 6875228 w 8551628"/>
              <a:gd name="connsiteY73" fmla="*/ 7296150 h 11588200"/>
              <a:gd name="connsiteX74" fmla="*/ 6818078 w 8551628"/>
              <a:gd name="connsiteY74" fmla="*/ 7962900 h 11588200"/>
              <a:gd name="connsiteX75" fmla="*/ 6532328 w 8551628"/>
              <a:gd name="connsiteY75" fmla="*/ 8477250 h 11588200"/>
              <a:gd name="connsiteX76" fmla="*/ 6170378 w 8551628"/>
              <a:gd name="connsiteY76" fmla="*/ 8953500 h 11588200"/>
              <a:gd name="connsiteX77" fmla="*/ 5979878 w 8551628"/>
              <a:gd name="connsiteY77" fmla="*/ 9315450 h 11588200"/>
              <a:gd name="connsiteX78" fmla="*/ 5675078 w 8551628"/>
              <a:gd name="connsiteY78" fmla="*/ 9886950 h 11588200"/>
              <a:gd name="connsiteX79" fmla="*/ 5122628 w 8551628"/>
              <a:gd name="connsiteY79" fmla="*/ 10687050 h 11588200"/>
              <a:gd name="connsiteX80" fmla="*/ 5008328 w 8551628"/>
              <a:gd name="connsiteY80" fmla="*/ 11258549 h 11588200"/>
              <a:gd name="connsiteX81" fmla="*/ 3046178 w 8551628"/>
              <a:gd name="connsiteY81" fmla="*/ 11582399 h 11588200"/>
              <a:gd name="connsiteX82" fmla="*/ 874478 w 8551628"/>
              <a:gd name="connsiteY82" fmla="*/ 11220449 h 11588200"/>
              <a:gd name="connsiteX83" fmla="*/ 683978 w 8551628"/>
              <a:gd name="connsiteY83" fmla="*/ 11182349 h 11588200"/>
              <a:gd name="connsiteX84" fmla="*/ 417278 w 8551628"/>
              <a:gd name="connsiteY84" fmla="*/ 11353799 h 11588200"/>
              <a:gd name="connsiteX85" fmla="*/ 436329 w 8551628"/>
              <a:gd name="connsiteY85" fmla="*/ 9848849 h 11588200"/>
              <a:gd name="connsiteX86" fmla="*/ 17230 w 8551628"/>
              <a:gd name="connsiteY86" fmla="*/ 9791699 h 11588200"/>
              <a:gd name="connsiteX87" fmla="*/ 112480 w 8551628"/>
              <a:gd name="connsiteY87" fmla="*/ 7524749 h 11588200"/>
              <a:gd name="connsiteX88" fmla="*/ 988780 w 8551628"/>
              <a:gd name="connsiteY88" fmla="*/ 7524749 h 11588200"/>
              <a:gd name="connsiteX89" fmla="*/ 969730 w 8551628"/>
              <a:gd name="connsiteY89" fmla="*/ 8229599 h 11588200"/>
              <a:gd name="connsiteX90" fmla="*/ 867308 w 8551628"/>
              <a:gd name="connsiteY90" fmla="*/ 8139280 h 11588200"/>
              <a:gd name="connsiteX91" fmla="*/ 597919 w 8551628"/>
              <a:gd name="connsiteY91" fmla="*/ 8112386 h 11588200"/>
              <a:gd name="connsiteX92" fmla="*/ 390161 w 8551628"/>
              <a:gd name="connsiteY92" fmla="*/ 8306023 h 11588200"/>
              <a:gd name="connsiteX93" fmla="*/ 325168 w 8551628"/>
              <a:gd name="connsiteY93" fmla="*/ 9373496 h 11588200"/>
              <a:gd name="connsiteX94" fmla="*/ 459190 w 8551628"/>
              <a:gd name="connsiteY94" fmla="*/ 9577890 h 11588200"/>
              <a:gd name="connsiteX95" fmla="*/ 738888 w 8551628"/>
              <a:gd name="connsiteY95" fmla="*/ 9623387 h 11588200"/>
              <a:gd name="connsiteX96" fmla="*/ 986764 w 8551628"/>
              <a:gd name="connsiteY96" fmla="*/ 9469642 h 11588200"/>
              <a:gd name="connsiteX97" fmla="*/ 1051309 w 8551628"/>
              <a:gd name="connsiteY97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24415 w 8551628"/>
              <a:gd name="connsiteY2" fmla="*/ 7909783 h 11588200"/>
              <a:gd name="connsiteX3" fmla="*/ 1007828 w 8551628"/>
              <a:gd name="connsiteY3" fmla="*/ 7524750 h 11588200"/>
              <a:gd name="connsiteX4" fmla="*/ 1941278 w 8551628"/>
              <a:gd name="connsiteY4" fmla="*/ 7562850 h 11588200"/>
              <a:gd name="connsiteX5" fmla="*/ 1979378 w 8551628"/>
              <a:gd name="connsiteY5" fmla="*/ 6705600 h 11588200"/>
              <a:gd name="connsiteX6" fmla="*/ 1560278 w 8551628"/>
              <a:gd name="connsiteY6" fmla="*/ 6705600 h 11588200"/>
              <a:gd name="connsiteX7" fmla="*/ 1579328 w 8551628"/>
              <a:gd name="connsiteY7" fmla="*/ 6496050 h 11588200"/>
              <a:gd name="connsiteX8" fmla="*/ 2265128 w 8551628"/>
              <a:gd name="connsiteY8" fmla="*/ 6572250 h 11588200"/>
              <a:gd name="connsiteX9" fmla="*/ 3636728 w 8551628"/>
              <a:gd name="connsiteY9" fmla="*/ 6629400 h 11588200"/>
              <a:gd name="connsiteX10" fmla="*/ 3598628 w 8551628"/>
              <a:gd name="connsiteY10" fmla="*/ 7448550 h 11588200"/>
              <a:gd name="connsiteX11" fmla="*/ 6303728 w 8551628"/>
              <a:gd name="connsiteY11" fmla="*/ 7620000 h 11588200"/>
              <a:gd name="connsiteX12" fmla="*/ 6875228 w 8551628"/>
              <a:gd name="connsiteY12" fmla="*/ 7181850 h 11588200"/>
              <a:gd name="connsiteX13" fmla="*/ 6894278 w 8551628"/>
              <a:gd name="connsiteY13" fmla="*/ 6915150 h 11588200"/>
              <a:gd name="connsiteX14" fmla="*/ 6970478 w 8551628"/>
              <a:gd name="connsiteY14" fmla="*/ 6686550 h 11588200"/>
              <a:gd name="connsiteX15" fmla="*/ 7065728 w 8551628"/>
              <a:gd name="connsiteY15" fmla="*/ 6515100 h 11588200"/>
              <a:gd name="connsiteX16" fmla="*/ 7084778 w 8551628"/>
              <a:gd name="connsiteY16" fmla="*/ 6172200 h 11588200"/>
              <a:gd name="connsiteX17" fmla="*/ 7065728 w 8551628"/>
              <a:gd name="connsiteY17" fmla="*/ 5695950 h 11588200"/>
              <a:gd name="connsiteX18" fmla="*/ 7103828 w 8551628"/>
              <a:gd name="connsiteY18" fmla="*/ 5391150 h 11588200"/>
              <a:gd name="connsiteX19" fmla="*/ 7275278 w 8551628"/>
              <a:gd name="connsiteY19" fmla="*/ 5219700 h 11588200"/>
              <a:gd name="connsiteX20" fmla="*/ 7465778 w 8551628"/>
              <a:gd name="connsiteY20" fmla="*/ 5067300 h 11588200"/>
              <a:gd name="connsiteX21" fmla="*/ 7561028 w 8551628"/>
              <a:gd name="connsiteY21" fmla="*/ 4933950 h 11588200"/>
              <a:gd name="connsiteX22" fmla="*/ 7503878 w 8551628"/>
              <a:gd name="connsiteY22" fmla="*/ 4781550 h 11588200"/>
              <a:gd name="connsiteX23" fmla="*/ 7351478 w 8551628"/>
              <a:gd name="connsiteY23" fmla="*/ 4648200 h 11588200"/>
              <a:gd name="connsiteX24" fmla="*/ 7351478 w 8551628"/>
              <a:gd name="connsiteY24" fmla="*/ 4648200 h 11588200"/>
              <a:gd name="connsiteX25" fmla="*/ 7351478 w 8551628"/>
              <a:gd name="connsiteY25" fmla="*/ 4210050 h 11588200"/>
              <a:gd name="connsiteX26" fmla="*/ 7618178 w 8551628"/>
              <a:gd name="connsiteY26" fmla="*/ 4210050 h 11588200"/>
              <a:gd name="connsiteX27" fmla="*/ 7694378 w 8551628"/>
              <a:gd name="connsiteY27" fmla="*/ 4438650 h 11588200"/>
              <a:gd name="connsiteX28" fmla="*/ 7732478 w 8551628"/>
              <a:gd name="connsiteY28" fmla="*/ 4629150 h 11588200"/>
              <a:gd name="connsiteX29" fmla="*/ 7789628 w 8551628"/>
              <a:gd name="connsiteY29" fmla="*/ 4895850 h 11588200"/>
              <a:gd name="connsiteX30" fmla="*/ 7732478 w 8551628"/>
              <a:gd name="connsiteY30" fmla="*/ 5067300 h 11588200"/>
              <a:gd name="connsiteX31" fmla="*/ 7999178 w 8551628"/>
              <a:gd name="connsiteY31" fmla="*/ 5314950 h 11588200"/>
              <a:gd name="connsiteX32" fmla="*/ 8551628 w 8551628"/>
              <a:gd name="connsiteY32" fmla="*/ 5467350 h 11588200"/>
              <a:gd name="connsiteX33" fmla="*/ 8265878 w 8551628"/>
              <a:gd name="connsiteY33" fmla="*/ 19050 h 11588200"/>
              <a:gd name="connsiteX34" fmla="*/ 7618178 w 8551628"/>
              <a:gd name="connsiteY34" fmla="*/ 0 h 11588200"/>
              <a:gd name="connsiteX35" fmla="*/ 7180028 w 8551628"/>
              <a:gd name="connsiteY35" fmla="*/ 0 h 11588200"/>
              <a:gd name="connsiteX36" fmla="*/ 6151328 w 8551628"/>
              <a:gd name="connsiteY36" fmla="*/ 190500 h 11588200"/>
              <a:gd name="connsiteX37" fmla="*/ 5446478 w 8551628"/>
              <a:gd name="connsiteY37" fmla="*/ 209550 h 11588200"/>
              <a:gd name="connsiteX38" fmla="*/ 5484578 w 8551628"/>
              <a:gd name="connsiteY38" fmla="*/ 266700 h 11588200"/>
              <a:gd name="connsiteX39" fmla="*/ 5294078 w 8551628"/>
              <a:gd name="connsiteY39" fmla="*/ 285750 h 11588200"/>
              <a:gd name="connsiteX40" fmla="*/ 5313128 w 8551628"/>
              <a:gd name="connsiteY40" fmla="*/ 400050 h 11588200"/>
              <a:gd name="connsiteX41" fmla="*/ 6246578 w 8551628"/>
              <a:gd name="connsiteY41" fmla="*/ 381000 h 11588200"/>
              <a:gd name="connsiteX42" fmla="*/ 6456128 w 8551628"/>
              <a:gd name="connsiteY42" fmla="*/ 457200 h 11588200"/>
              <a:gd name="connsiteX43" fmla="*/ 6646628 w 8551628"/>
              <a:gd name="connsiteY43" fmla="*/ 876300 h 11588200"/>
              <a:gd name="connsiteX44" fmla="*/ 6818078 w 8551628"/>
              <a:gd name="connsiteY44" fmla="*/ 1581150 h 11588200"/>
              <a:gd name="connsiteX45" fmla="*/ 6932378 w 8551628"/>
              <a:gd name="connsiteY45" fmla="*/ 1733550 h 11588200"/>
              <a:gd name="connsiteX46" fmla="*/ 7084778 w 8551628"/>
              <a:gd name="connsiteY46" fmla="*/ 2019300 h 11588200"/>
              <a:gd name="connsiteX47" fmla="*/ 7332428 w 8551628"/>
              <a:gd name="connsiteY47" fmla="*/ 2057400 h 11588200"/>
              <a:gd name="connsiteX48" fmla="*/ 7275278 w 8551628"/>
              <a:gd name="connsiteY48" fmla="*/ 2209800 h 11588200"/>
              <a:gd name="connsiteX49" fmla="*/ 7275278 w 8551628"/>
              <a:gd name="connsiteY49" fmla="*/ 2209800 h 11588200"/>
              <a:gd name="connsiteX50" fmla="*/ 7370528 w 8551628"/>
              <a:gd name="connsiteY50" fmla="*/ 2495550 h 11588200"/>
              <a:gd name="connsiteX51" fmla="*/ 7484828 w 8551628"/>
              <a:gd name="connsiteY51" fmla="*/ 2609850 h 11588200"/>
              <a:gd name="connsiteX52" fmla="*/ 7618178 w 8551628"/>
              <a:gd name="connsiteY52" fmla="*/ 2762250 h 11588200"/>
              <a:gd name="connsiteX53" fmla="*/ 7675328 w 8551628"/>
              <a:gd name="connsiteY53" fmla="*/ 2914650 h 11588200"/>
              <a:gd name="connsiteX54" fmla="*/ 7618178 w 8551628"/>
              <a:gd name="connsiteY54" fmla="*/ 3124200 h 11588200"/>
              <a:gd name="connsiteX55" fmla="*/ 7389578 w 8551628"/>
              <a:gd name="connsiteY55" fmla="*/ 3333750 h 11588200"/>
              <a:gd name="connsiteX56" fmla="*/ 7294328 w 8551628"/>
              <a:gd name="connsiteY56" fmla="*/ 3505200 h 11588200"/>
              <a:gd name="connsiteX57" fmla="*/ 7313378 w 8551628"/>
              <a:gd name="connsiteY57" fmla="*/ 3676650 h 11588200"/>
              <a:gd name="connsiteX58" fmla="*/ 7484828 w 8551628"/>
              <a:gd name="connsiteY58" fmla="*/ 3867150 h 11588200"/>
              <a:gd name="connsiteX59" fmla="*/ 7580078 w 8551628"/>
              <a:gd name="connsiteY59" fmla="*/ 3981450 h 11588200"/>
              <a:gd name="connsiteX60" fmla="*/ 7599128 w 8551628"/>
              <a:gd name="connsiteY60" fmla="*/ 4191000 h 11588200"/>
              <a:gd name="connsiteX61" fmla="*/ 7351478 w 8551628"/>
              <a:gd name="connsiteY61" fmla="*/ 4210050 h 11588200"/>
              <a:gd name="connsiteX62" fmla="*/ 7313378 w 8551628"/>
              <a:gd name="connsiteY62" fmla="*/ 4629150 h 11588200"/>
              <a:gd name="connsiteX63" fmla="*/ 7313378 w 8551628"/>
              <a:gd name="connsiteY63" fmla="*/ 4629150 h 11588200"/>
              <a:gd name="connsiteX64" fmla="*/ 7522928 w 8551628"/>
              <a:gd name="connsiteY64" fmla="*/ 4857750 h 11588200"/>
              <a:gd name="connsiteX65" fmla="*/ 7561028 w 8551628"/>
              <a:gd name="connsiteY65" fmla="*/ 4933950 h 11588200"/>
              <a:gd name="connsiteX66" fmla="*/ 7427678 w 8551628"/>
              <a:gd name="connsiteY66" fmla="*/ 5124450 h 11588200"/>
              <a:gd name="connsiteX67" fmla="*/ 7199078 w 8551628"/>
              <a:gd name="connsiteY67" fmla="*/ 5257800 h 11588200"/>
              <a:gd name="connsiteX68" fmla="*/ 7103828 w 8551628"/>
              <a:gd name="connsiteY68" fmla="*/ 5391150 h 11588200"/>
              <a:gd name="connsiteX69" fmla="*/ 7103828 w 8551628"/>
              <a:gd name="connsiteY69" fmla="*/ 6172200 h 11588200"/>
              <a:gd name="connsiteX70" fmla="*/ 7103828 w 8551628"/>
              <a:gd name="connsiteY70" fmla="*/ 6343650 h 11588200"/>
              <a:gd name="connsiteX71" fmla="*/ 7027628 w 8551628"/>
              <a:gd name="connsiteY71" fmla="*/ 6572250 h 11588200"/>
              <a:gd name="connsiteX72" fmla="*/ 6932378 w 8551628"/>
              <a:gd name="connsiteY72" fmla="*/ 6819900 h 11588200"/>
              <a:gd name="connsiteX73" fmla="*/ 6875228 w 8551628"/>
              <a:gd name="connsiteY73" fmla="*/ 7048500 h 11588200"/>
              <a:gd name="connsiteX74" fmla="*/ 6875228 w 8551628"/>
              <a:gd name="connsiteY74" fmla="*/ 7296150 h 11588200"/>
              <a:gd name="connsiteX75" fmla="*/ 6818078 w 8551628"/>
              <a:gd name="connsiteY75" fmla="*/ 7962900 h 11588200"/>
              <a:gd name="connsiteX76" fmla="*/ 6532328 w 8551628"/>
              <a:gd name="connsiteY76" fmla="*/ 8477250 h 11588200"/>
              <a:gd name="connsiteX77" fmla="*/ 6170378 w 8551628"/>
              <a:gd name="connsiteY77" fmla="*/ 8953500 h 11588200"/>
              <a:gd name="connsiteX78" fmla="*/ 5979878 w 8551628"/>
              <a:gd name="connsiteY78" fmla="*/ 9315450 h 11588200"/>
              <a:gd name="connsiteX79" fmla="*/ 5675078 w 8551628"/>
              <a:gd name="connsiteY79" fmla="*/ 9886950 h 11588200"/>
              <a:gd name="connsiteX80" fmla="*/ 5122628 w 8551628"/>
              <a:gd name="connsiteY80" fmla="*/ 10687050 h 11588200"/>
              <a:gd name="connsiteX81" fmla="*/ 5008328 w 8551628"/>
              <a:gd name="connsiteY81" fmla="*/ 11258549 h 11588200"/>
              <a:gd name="connsiteX82" fmla="*/ 3046178 w 8551628"/>
              <a:gd name="connsiteY82" fmla="*/ 11582399 h 11588200"/>
              <a:gd name="connsiteX83" fmla="*/ 874478 w 8551628"/>
              <a:gd name="connsiteY83" fmla="*/ 11220449 h 11588200"/>
              <a:gd name="connsiteX84" fmla="*/ 683978 w 8551628"/>
              <a:gd name="connsiteY84" fmla="*/ 11182349 h 11588200"/>
              <a:gd name="connsiteX85" fmla="*/ 417278 w 8551628"/>
              <a:gd name="connsiteY85" fmla="*/ 11353799 h 11588200"/>
              <a:gd name="connsiteX86" fmla="*/ 436329 w 8551628"/>
              <a:gd name="connsiteY86" fmla="*/ 9848849 h 11588200"/>
              <a:gd name="connsiteX87" fmla="*/ 17230 w 8551628"/>
              <a:gd name="connsiteY87" fmla="*/ 9791699 h 11588200"/>
              <a:gd name="connsiteX88" fmla="*/ 112480 w 8551628"/>
              <a:gd name="connsiteY88" fmla="*/ 7524749 h 11588200"/>
              <a:gd name="connsiteX89" fmla="*/ 988780 w 8551628"/>
              <a:gd name="connsiteY89" fmla="*/ 7524749 h 11588200"/>
              <a:gd name="connsiteX90" fmla="*/ 969730 w 8551628"/>
              <a:gd name="connsiteY90" fmla="*/ 8229599 h 11588200"/>
              <a:gd name="connsiteX91" fmla="*/ 867308 w 8551628"/>
              <a:gd name="connsiteY91" fmla="*/ 8139280 h 11588200"/>
              <a:gd name="connsiteX92" fmla="*/ 597919 w 8551628"/>
              <a:gd name="connsiteY92" fmla="*/ 8112386 h 11588200"/>
              <a:gd name="connsiteX93" fmla="*/ 390161 w 8551628"/>
              <a:gd name="connsiteY93" fmla="*/ 8306023 h 11588200"/>
              <a:gd name="connsiteX94" fmla="*/ 325168 w 8551628"/>
              <a:gd name="connsiteY94" fmla="*/ 9373496 h 11588200"/>
              <a:gd name="connsiteX95" fmla="*/ 459190 w 8551628"/>
              <a:gd name="connsiteY95" fmla="*/ 9577890 h 11588200"/>
              <a:gd name="connsiteX96" fmla="*/ 738888 w 8551628"/>
              <a:gd name="connsiteY96" fmla="*/ 9623387 h 11588200"/>
              <a:gd name="connsiteX97" fmla="*/ 986764 w 8551628"/>
              <a:gd name="connsiteY97" fmla="*/ 9469642 h 11588200"/>
              <a:gd name="connsiteX98" fmla="*/ 1051309 w 8551628"/>
              <a:gd name="connsiteY98" fmla="*/ 8393877 h 11588200"/>
              <a:gd name="connsiteX0" fmla="*/ 1045928 w 8551628"/>
              <a:gd name="connsiteY0" fmla="*/ 8362950 h 11588200"/>
              <a:gd name="connsiteX1" fmla="*/ 1045928 w 8551628"/>
              <a:gd name="connsiteY1" fmla="*/ 8362950 h 11588200"/>
              <a:gd name="connsiteX2" fmla="*/ 1002900 w 8551628"/>
              <a:gd name="connsiteY2" fmla="*/ 8237891 h 11588200"/>
              <a:gd name="connsiteX3" fmla="*/ 1007828 w 8551628"/>
              <a:gd name="connsiteY3" fmla="*/ 7524750 h 11588200"/>
              <a:gd name="connsiteX4" fmla="*/ 1941278 w 8551628"/>
              <a:gd name="connsiteY4" fmla="*/ 7562850 h 11588200"/>
              <a:gd name="connsiteX5" fmla="*/ 1979378 w 8551628"/>
              <a:gd name="connsiteY5" fmla="*/ 6705600 h 11588200"/>
              <a:gd name="connsiteX6" fmla="*/ 1560278 w 8551628"/>
              <a:gd name="connsiteY6" fmla="*/ 6705600 h 11588200"/>
              <a:gd name="connsiteX7" fmla="*/ 1579328 w 8551628"/>
              <a:gd name="connsiteY7" fmla="*/ 6496050 h 11588200"/>
              <a:gd name="connsiteX8" fmla="*/ 2265128 w 8551628"/>
              <a:gd name="connsiteY8" fmla="*/ 6572250 h 11588200"/>
              <a:gd name="connsiteX9" fmla="*/ 3636728 w 8551628"/>
              <a:gd name="connsiteY9" fmla="*/ 6629400 h 11588200"/>
              <a:gd name="connsiteX10" fmla="*/ 3598628 w 8551628"/>
              <a:gd name="connsiteY10" fmla="*/ 7448550 h 11588200"/>
              <a:gd name="connsiteX11" fmla="*/ 6303728 w 8551628"/>
              <a:gd name="connsiteY11" fmla="*/ 7620000 h 11588200"/>
              <a:gd name="connsiteX12" fmla="*/ 6875228 w 8551628"/>
              <a:gd name="connsiteY12" fmla="*/ 7181850 h 11588200"/>
              <a:gd name="connsiteX13" fmla="*/ 6894278 w 8551628"/>
              <a:gd name="connsiteY13" fmla="*/ 6915150 h 11588200"/>
              <a:gd name="connsiteX14" fmla="*/ 6970478 w 8551628"/>
              <a:gd name="connsiteY14" fmla="*/ 6686550 h 11588200"/>
              <a:gd name="connsiteX15" fmla="*/ 7065728 w 8551628"/>
              <a:gd name="connsiteY15" fmla="*/ 6515100 h 11588200"/>
              <a:gd name="connsiteX16" fmla="*/ 7084778 w 8551628"/>
              <a:gd name="connsiteY16" fmla="*/ 6172200 h 11588200"/>
              <a:gd name="connsiteX17" fmla="*/ 7065728 w 8551628"/>
              <a:gd name="connsiteY17" fmla="*/ 5695950 h 11588200"/>
              <a:gd name="connsiteX18" fmla="*/ 7103828 w 8551628"/>
              <a:gd name="connsiteY18" fmla="*/ 5391150 h 11588200"/>
              <a:gd name="connsiteX19" fmla="*/ 7275278 w 8551628"/>
              <a:gd name="connsiteY19" fmla="*/ 5219700 h 11588200"/>
              <a:gd name="connsiteX20" fmla="*/ 7465778 w 8551628"/>
              <a:gd name="connsiteY20" fmla="*/ 5067300 h 11588200"/>
              <a:gd name="connsiteX21" fmla="*/ 7561028 w 8551628"/>
              <a:gd name="connsiteY21" fmla="*/ 4933950 h 11588200"/>
              <a:gd name="connsiteX22" fmla="*/ 7503878 w 8551628"/>
              <a:gd name="connsiteY22" fmla="*/ 4781550 h 11588200"/>
              <a:gd name="connsiteX23" fmla="*/ 7351478 w 8551628"/>
              <a:gd name="connsiteY23" fmla="*/ 4648200 h 11588200"/>
              <a:gd name="connsiteX24" fmla="*/ 7351478 w 8551628"/>
              <a:gd name="connsiteY24" fmla="*/ 4648200 h 11588200"/>
              <a:gd name="connsiteX25" fmla="*/ 7351478 w 8551628"/>
              <a:gd name="connsiteY25" fmla="*/ 4210050 h 11588200"/>
              <a:gd name="connsiteX26" fmla="*/ 7618178 w 8551628"/>
              <a:gd name="connsiteY26" fmla="*/ 4210050 h 11588200"/>
              <a:gd name="connsiteX27" fmla="*/ 7694378 w 8551628"/>
              <a:gd name="connsiteY27" fmla="*/ 4438650 h 11588200"/>
              <a:gd name="connsiteX28" fmla="*/ 7732478 w 8551628"/>
              <a:gd name="connsiteY28" fmla="*/ 4629150 h 11588200"/>
              <a:gd name="connsiteX29" fmla="*/ 7789628 w 8551628"/>
              <a:gd name="connsiteY29" fmla="*/ 4895850 h 11588200"/>
              <a:gd name="connsiteX30" fmla="*/ 7732478 w 8551628"/>
              <a:gd name="connsiteY30" fmla="*/ 5067300 h 11588200"/>
              <a:gd name="connsiteX31" fmla="*/ 7999178 w 8551628"/>
              <a:gd name="connsiteY31" fmla="*/ 5314950 h 11588200"/>
              <a:gd name="connsiteX32" fmla="*/ 8551628 w 8551628"/>
              <a:gd name="connsiteY32" fmla="*/ 5467350 h 11588200"/>
              <a:gd name="connsiteX33" fmla="*/ 8265878 w 8551628"/>
              <a:gd name="connsiteY33" fmla="*/ 19050 h 11588200"/>
              <a:gd name="connsiteX34" fmla="*/ 7618178 w 8551628"/>
              <a:gd name="connsiteY34" fmla="*/ 0 h 11588200"/>
              <a:gd name="connsiteX35" fmla="*/ 7180028 w 8551628"/>
              <a:gd name="connsiteY35" fmla="*/ 0 h 11588200"/>
              <a:gd name="connsiteX36" fmla="*/ 6151328 w 8551628"/>
              <a:gd name="connsiteY36" fmla="*/ 190500 h 11588200"/>
              <a:gd name="connsiteX37" fmla="*/ 5446478 w 8551628"/>
              <a:gd name="connsiteY37" fmla="*/ 209550 h 11588200"/>
              <a:gd name="connsiteX38" fmla="*/ 5484578 w 8551628"/>
              <a:gd name="connsiteY38" fmla="*/ 266700 h 11588200"/>
              <a:gd name="connsiteX39" fmla="*/ 5294078 w 8551628"/>
              <a:gd name="connsiteY39" fmla="*/ 285750 h 11588200"/>
              <a:gd name="connsiteX40" fmla="*/ 5313128 w 8551628"/>
              <a:gd name="connsiteY40" fmla="*/ 400050 h 11588200"/>
              <a:gd name="connsiteX41" fmla="*/ 6246578 w 8551628"/>
              <a:gd name="connsiteY41" fmla="*/ 381000 h 11588200"/>
              <a:gd name="connsiteX42" fmla="*/ 6456128 w 8551628"/>
              <a:gd name="connsiteY42" fmla="*/ 457200 h 11588200"/>
              <a:gd name="connsiteX43" fmla="*/ 6646628 w 8551628"/>
              <a:gd name="connsiteY43" fmla="*/ 876300 h 11588200"/>
              <a:gd name="connsiteX44" fmla="*/ 6818078 w 8551628"/>
              <a:gd name="connsiteY44" fmla="*/ 1581150 h 11588200"/>
              <a:gd name="connsiteX45" fmla="*/ 6932378 w 8551628"/>
              <a:gd name="connsiteY45" fmla="*/ 1733550 h 11588200"/>
              <a:gd name="connsiteX46" fmla="*/ 7084778 w 8551628"/>
              <a:gd name="connsiteY46" fmla="*/ 2019300 h 11588200"/>
              <a:gd name="connsiteX47" fmla="*/ 7332428 w 8551628"/>
              <a:gd name="connsiteY47" fmla="*/ 2057400 h 11588200"/>
              <a:gd name="connsiteX48" fmla="*/ 7275278 w 8551628"/>
              <a:gd name="connsiteY48" fmla="*/ 2209800 h 11588200"/>
              <a:gd name="connsiteX49" fmla="*/ 7275278 w 8551628"/>
              <a:gd name="connsiteY49" fmla="*/ 2209800 h 11588200"/>
              <a:gd name="connsiteX50" fmla="*/ 7370528 w 8551628"/>
              <a:gd name="connsiteY50" fmla="*/ 2495550 h 11588200"/>
              <a:gd name="connsiteX51" fmla="*/ 7484828 w 8551628"/>
              <a:gd name="connsiteY51" fmla="*/ 2609850 h 11588200"/>
              <a:gd name="connsiteX52" fmla="*/ 7618178 w 8551628"/>
              <a:gd name="connsiteY52" fmla="*/ 2762250 h 11588200"/>
              <a:gd name="connsiteX53" fmla="*/ 7675328 w 8551628"/>
              <a:gd name="connsiteY53" fmla="*/ 2914650 h 11588200"/>
              <a:gd name="connsiteX54" fmla="*/ 7618178 w 8551628"/>
              <a:gd name="connsiteY54" fmla="*/ 3124200 h 11588200"/>
              <a:gd name="connsiteX55" fmla="*/ 7389578 w 8551628"/>
              <a:gd name="connsiteY55" fmla="*/ 3333750 h 11588200"/>
              <a:gd name="connsiteX56" fmla="*/ 7294328 w 8551628"/>
              <a:gd name="connsiteY56" fmla="*/ 3505200 h 11588200"/>
              <a:gd name="connsiteX57" fmla="*/ 7313378 w 8551628"/>
              <a:gd name="connsiteY57" fmla="*/ 3676650 h 11588200"/>
              <a:gd name="connsiteX58" fmla="*/ 7484828 w 8551628"/>
              <a:gd name="connsiteY58" fmla="*/ 3867150 h 11588200"/>
              <a:gd name="connsiteX59" fmla="*/ 7580078 w 8551628"/>
              <a:gd name="connsiteY59" fmla="*/ 3981450 h 11588200"/>
              <a:gd name="connsiteX60" fmla="*/ 7599128 w 8551628"/>
              <a:gd name="connsiteY60" fmla="*/ 4191000 h 11588200"/>
              <a:gd name="connsiteX61" fmla="*/ 7351478 w 8551628"/>
              <a:gd name="connsiteY61" fmla="*/ 4210050 h 11588200"/>
              <a:gd name="connsiteX62" fmla="*/ 7313378 w 8551628"/>
              <a:gd name="connsiteY62" fmla="*/ 4629150 h 11588200"/>
              <a:gd name="connsiteX63" fmla="*/ 7313378 w 8551628"/>
              <a:gd name="connsiteY63" fmla="*/ 4629150 h 11588200"/>
              <a:gd name="connsiteX64" fmla="*/ 7522928 w 8551628"/>
              <a:gd name="connsiteY64" fmla="*/ 4857750 h 11588200"/>
              <a:gd name="connsiteX65" fmla="*/ 7561028 w 8551628"/>
              <a:gd name="connsiteY65" fmla="*/ 4933950 h 11588200"/>
              <a:gd name="connsiteX66" fmla="*/ 7427678 w 8551628"/>
              <a:gd name="connsiteY66" fmla="*/ 5124450 h 11588200"/>
              <a:gd name="connsiteX67" fmla="*/ 7199078 w 8551628"/>
              <a:gd name="connsiteY67" fmla="*/ 5257800 h 11588200"/>
              <a:gd name="connsiteX68" fmla="*/ 7103828 w 8551628"/>
              <a:gd name="connsiteY68" fmla="*/ 5391150 h 11588200"/>
              <a:gd name="connsiteX69" fmla="*/ 7103828 w 8551628"/>
              <a:gd name="connsiteY69" fmla="*/ 6172200 h 11588200"/>
              <a:gd name="connsiteX70" fmla="*/ 7103828 w 8551628"/>
              <a:gd name="connsiteY70" fmla="*/ 6343650 h 11588200"/>
              <a:gd name="connsiteX71" fmla="*/ 7027628 w 8551628"/>
              <a:gd name="connsiteY71" fmla="*/ 6572250 h 11588200"/>
              <a:gd name="connsiteX72" fmla="*/ 6932378 w 8551628"/>
              <a:gd name="connsiteY72" fmla="*/ 6819900 h 11588200"/>
              <a:gd name="connsiteX73" fmla="*/ 6875228 w 8551628"/>
              <a:gd name="connsiteY73" fmla="*/ 7048500 h 11588200"/>
              <a:gd name="connsiteX74" fmla="*/ 6875228 w 8551628"/>
              <a:gd name="connsiteY74" fmla="*/ 7296150 h 11588200"/>
              <a:gd name="connsiteX75" fmla="*/ 6818078 w 8551628"/>
              <a:gd name="connsiteY75" fmla="*/ 7962900 h 11588200"/>
              <a:gd name="connsiteX76" fmla="*/ 6532328 w 8551628"/>
              <a:gd name="connsiteY76" fmla="*/ 8477250 h 11588200"/>
              <a:gd name="connsiteX77" fmla="*/ 6170378 w 8551628"/>
              <a:gd name="connsiteY77" fmla="*/ 8953500 h 11588200"/>
              <a:gd name="connsiteX78" fmla="*/ 5979878 w 8551628"/>
              <a:gd name="connsiteY78" fmla="*/ 9315450 h 11588200"/>
              <a:gd name="connsiteX79" fmla="*/ 5675078 w 8551628"/>
              <a:gd name="connsiteY79" fmla="*/ 9886950 h 11588200"/>
              <a:gd name="connsiteX80" fmla="*/ 5122628 w 8551628"/>
              <a:gd name="connsiteY80" fmla="*/ 10687050 h 11588200"/>
              <a:gd name="connsiteX81" fmla="*/ 5008328 w 8551628"/>
              <a:gd name="connsiteY81" fmla="*/ 11258549 h 11588200"/>
              <a:gd name="connsiteX82" fmla="*/ 3046178 w 8551628"/>
              <a:gd name="connsiteY82" fmla="*/ 11582399 h 11588200"/>
              <a:gd name="connsiteX83" fmla="*/ 874478 w 8551628"/>
              <a:gd name="connsiteY83" fmla="*/ 11220449 h 11588200"/>
              <a:gd name="connsiteX84" fmla="*/ 683978 w 8551628"/>
              <a:gd name="connsiteY84" fmla="*/ 11182349 h 11588200"/>
              <a:gd name="connsiteX85" fmla="*/ 417278 w 8551628"/>
              <a:gd name="connsiteY85" fmla="*/ 11353799 h 11588200"/>
              <a:gd name="connsiteX86" fmla="*/ 436329 w 8551628"/>
              <a:gd name="connsiteY86" fmla="*/ 9848849 h 11588200"/>
              <a:gd name="connsiteX87" fmla="*/ 17230 w 8551628"/>
              <a:gd name="connsiteY87" fmla="*/ 9791699 h 11588200"/>
              <a:gd name="connsiteX88" fmla="*/ 112480 w 8551628"/>
              <a:gd name="connsiteY88" fmla="*/ 7524749 h 11588200"/>
              <a:gd name="connsiteX89" fmla="*/ 988780 w 8551628"/>
              <a:gd name="connsiteY89" fmla="*/ 7524749 h 11588200"/>
              <a:gd name="connsiteX90" fmla="*/ 969730 w 8551628"/>
              <a:gd name="connsiteY90" fmla="*/ 8229599 h 11588200"/>
              <a:gd name="connsiteX91" fmla="*/ 867308 w 8551628"/>
              <a:gd name="connsiteY91" fmla="*/ 8139280 h 11588200"/>
              <a:gd name="connsiteX92" fmla="*/ 597919 w 8551628"/>
              <a:gd name="connsiteY92" fmla="*/ 8112386 h 11588200"/>
              <a:gd name="connsiteX93" fmla="*/ 390161 w 8551628"/>
              <a:gd name="connsiteY93" fmla="*/ 8306023 h 11588200"/>
              <a:gd name="connsiteX94" fmla="*/ 325168 w 8551628"/>
              <a:gd name="connsiteY94" fmla="*/ 9373496 h 11588200"/>
              <a:gd name="connsiteX95" fmla="*/ 459190 w 8551628"/>
              <a:gd name="connsiteY95" fmla="*/ 9577890 h 11588200"/>
              <a:gd name="connsiteX96" fmla="*/ 738888 w 8551628"/>
              <a:gd name="connsiteY96" fmla="*/ 9623387 h 11588200"/>
              <a:gd name="connsiteX97" fmla="*/ 986764 w 8551628"/>
              <a:gd name="connsiteY97" fmla="*/ 9469642 h 11588200"/>
              <a:gd name="connsiteX98" fmla="*/ 1051309 w 8551628"/>
              <a:gd name="connsiteY98" fmla="*/ 8393877 h 11588200"/>
              <a:gd name="connsiteX0" fmla="*/ 1045928 w 8551628"/>
              <a:gd name="connsiteY0" fmla="*/ 8362950 h 11413459"/>
              <a:gd name="connsiteX1" fmla="*/ 1045928 w 8551628"/>
              <a:gd name="connsiteY1" fmla="*/ 8362950 h 11413459"/>
              <a:gd name="connsiteX2" fmla="*/ 1002900 w 8551628"/>
              <a:gd name="connsiteY2" fmla="*/ 8237891 h 11413459"/>
              <a:gd name="connsiteX3" fmla="*/ 1007828 w 8551628"/>
              <a:gd name="connsiteY3" fmla="*/ 7524750 h 11413459"/>
              <a:gd name="connsiteX4" fmla="*/ 1941278 w 8551628"/>
              <a:gd name="connsiteY4" fmla="*/ 7562850 h 11413459"/>
              <a:gd name="connsiteX5" fmla="*/ 1979378 w 8551628"/>
              <a:gd name="connsiteY5" fmla="*/ 6705600 h 11413459"/>
              <a:gd name="connsiteX6" fmla="*/ 1560278 w 8551628"/>
              <a:gd name="connsiteY6" fmla="*/ 6705600 h 11413459"/>
              <a:gd name="connsiteX7" fmla="*/ 1579328 w 8551628"/>
              <a:gd name="connsiteY7" fmla="*/ 6496050 h 11413459"/>
              <a:gd name="connsiteX8" fmla="*/ 2265128 w 8551628"/>
              <a:gd name="connsiteY8" fmla="*/ 6572250 h 11413459"/>
              <a:gd name="connsiteX9" fmla="*/ 3636728 w 8551628"/>
              <a:gd name="connsiteY9" fmla="*/ 6629400 h 11413459"/>
              <a:gd name="connsiteX10" fmla="*/ 3598628 w 8551628"/>
              <a:gd name="connsiteY10" fmla="*/ 7448550 h 11413459"/>
              <a:gd name="connsiteX11" fmla="*/ 6303728 w 8551628"/>
              <a:gd name="connsiteY11" fmla="*/ 7620000 h 11413459"/>
              <a:gd name="connsiteX12" fmla="*/ 6875228 w 8551628"/>
              <a:gd name="connsiteY12" fmla="*/ 7181850 h 11413459"/>
              <a:gd name="connsiteX13" fmla="*/ 6894278 w 8551628"/>
              <a:gd name="connsiteY13" fmla="*/ 6915150 h 11413459"/>
              <a:gd name="connsiteX14" fmla="*/ 6970478 w 8551628"/>
              <a:gd name="connsiteY14" fmla="*/ 6686550 h 11413459"/>
              <a:gd name="connsiteX15" fmla="*/ 7065728 w 8551628"/>
              <a:gd name="connsiteY15" fmla="*/ 6515100 h 11413459"/>
              <a:gd name="connsiteX16" fmla="*/ 7084778 w 8551628"/>
              <a:gd name="connsiteY16" fmla="*/ 6172200 h 11413459"/>
              <a:gd name="connsiteX17" fmla="*/ 7065728 w 8551628"/>
              <a:gd name="connsiteY17" fmla="*/ 5695950 h 11413459"/>
              <a:gd name="connsiteX18" fmla="*/ 7103828 w 8551628"/>
              <a:gd name="connsiteY18" fmla="*/ 5391150 h 11413459"/>
              <a:gd name="connsiteX19" fmla="*/ 7275278 w 8551628"/>
              <a:gd name="connsiteY19" fmla="*/ 5219700 h 11413459"/>
              <a:gd name="connsiteX20" fmla="*/ 7465778 w 8551628"/>
              <a:gd name="connsiteY20" fmla="*/ 5067300 h 11413459"/>
              <a:gd name="connsiteX21" fmla="*/ 7561028 w 8551628"/>
              <a:gd name="connsiteY21" fmla="*/ 4933950 h 11413459"/>
              <a:gd name="connsiteX22" fmla="*/ 7503878 w 8551628"/>
              <a:gd name="connsiteY22" fmla="*/ 4781550 h 11413459"/>
              <a:gd name="connsiteX23" fmla="*/ 7351478 w 8551628"/>
              <a:gd name="connsiteY23" fmla="*/ 4648200 h 11413459"/>
              <a:gd name="connsiteX24" fmla="*/ 7351478 w 8551628"/>
              <a:gd name="connsiteY24" fmla="*/ 4648200 h 11413459"/>
              <a:gd name="connsiteX25" fmla="*/ 7351478 w 8551628"/>
              <a:gd name="connsiteY25" fmla="*/ 4210050 h 11413459"/>
              <a:gd name="connsiteX26" fmla="*/ 7618178 w 8551628"/>
              <a:gd name="connsiteY26" fmla="*/ 4210050 h 11413459"/>
              <a:gd name="connsiteX27" fmla="*/ 7694378 w 8551628"/>
              <a:gd name="connsiteY27" fmla="*/ 4438650 h 11413459"/>
              <a:gd name="connsiteX28" fmla="*/ 7732478 w 8551628"/>
              <a:gd name="connsiteY28" fmla="*/ 4629150 h 11413459"/>
              <a:gd name="connsiteX29" fmla="*/ 7789628 w 8551628"/>
              <a:gd name="connsiteY29" fmla="*/ 4895850 h 11413459"/>
              <a:gd name="connsiteX30" fmla="*/ 7732478 w 8551628"/>
              <a:gd name="connsiteY30" fmla="*/ 5067300 h 11413459"/>
              <a:gd name="connsiteX31" fmla="*/ 7999178 w 8551628"/>
              <a:gd name="connsiteY31" fmla="*/ 5314950 h 11413459"/>
              <a:gd name="connsiteX32" fmla="*/ 8551628 w 8551628"/>
              <a:gd name="connsiteY32" fmla="*/ 5467350 h 11413459"/>
              <a:gd name="connsiteX33" fmla="*/ 8265878 w 8551628"/>
              <a:gd name="connsiteY33" fmla="*/ 19050 h 11413459"/>
              <a:gd name="connsiteX34" fmla="*/ 7618178 w 8551628"/>
              <a:gd name="connsiteY34" fmla="*/ 0 h 11413459"/>
              <a:gd name="connsiteX35" fmla="*/ 7180028 w 8551628"/>
              <a:gd name="connsiteY35" fmla="*/ 0 h 11413459"/>
              <a:gd name="connsiteX36" fmla="*/ 6151328 w 8551628"/>
              <a:gd name="connsiteY36" fmla="*/ 190500 h 11413459"/>
              <a:gd name="connsiteX37" fmla="*/ 5446478 w 8551628"/>
              <a:gd name="connsiteY37" fmla="*/ 209550 h 11413459"/>
              <a:gd name="connsiteX38" fmla="*/ 5484578 w 8551628"/>
              <a:gd name="connsiteY38" fmla="*/ 266700 h 11413459"/>
              <a:gd name="connsiteX39" fmla="*/ 5294078 w 8551628"/>
              <a:gd name="connsiteY39" fmla="*/ 285750 h 11413459"/>
              <a:gd name="connsiteX40" fmla="*/ 5313128 w 8551628"/>
              <a:gd name="connsiteY40" fmla="*/ 400050 h 11413459"/>
              <a:gd name="connsiteX41" fmla="*/ 6246578 w 8551628"/>
              <a:gd name="connsiteY41" fmla="*/ 381000 h 11413459"/>
              <a:gd name="connsiteX42" fmla="*/ 6456128 w 8551628"/>
              <a:gd name="connsiteY42" fmla="*/ 457200 h 11413459"/>
              <a:gd name="connsiteX43" fmla="*/ 6646628 w 8551628"/>
              <a:gd name="connsiteY43" fmla="*/ 876300 h 11413459"/>
              <a:gd name="connsiteX44" fmla="*/ 6818078 w 8551628"/>
              <a:gd name="connsiteY44" fmla="*/ 1581150 h 11413459"/>
              <a:gd name="connsiteX45" fmla="*/ 6932378 w 8551628"/>
              <a:gd name="connsiteY45" fmla="*/ 1733550 h 11413459"/>
              <a:gd name="connsiteX46" fmla="*/ 7084778 w 8551628"/>
              <a:gd name="connsiteY46" fmla="*/ 2019300 h 11413459"/>
              <a:gd name="connsiteX47" fmla="*/ 7332428 w 8551628"/>
              <a:gd name="connsiteY47" fmla="*/ 2057400 h 11413459"/>
              <a:gd name="connsiteX48" fmla="*/ 7275278 w 8551628"/>
              <a:gd name="connsiteY48" fmla="*/ 2209800 h 11413459"/>
              <a:gd name="connsiteX49" fmla="*/ 7275278 w 8551628"/>
              <a:gd name="connsiteY49" fmla="*/ 2209800 h 11413459"/>
              <a:gd name="connsiteX50" fmla="*/ 7370528 w 8551628"/>
              <a:gd name="connsiteY50" fmla="*/ 2495550 h 11413459"/>
              <a:gd name="connsiteX51" fmla="*/ 7484828 w 8551628"/>
              <a:gd name="connsiteY51" fmla="*/ 2609850 h 11413459"/>
              <a:gd name="connsiteX52" fmla="*/ 7618178 w 8551628"/>
              <a:gd name="connsiteY52" fmla="*/ 2762250 h 11413459"/>
              <a:gd name="connsiteX53" fmla="*/ 7675328 w 8551628"/>
              <a:gd name="connsiteY53" fmla="*/ 2914650 h 11413459"/>
              <a:gd name="connsiteX54" fmla="*/ 7618178 w 8551628"/>
              <a:gd name="connsiteY54" fmla="*/ 3124200 h 11413459"/>
              <a:gd name="connsiteX55" fmla="*/ 7389578 w 8551628"/>
              <a:gd name="connsiteY55" fmla="*/ 3333750 h 11413459"/>
              <a:gd name="connsiteX56" fmla="*/ 7294328 w 8551628"/>
              <a:gd name="connsiteY56" fmla="*/ 3505200 h 11413459"/>
              <a:gd name="connsiteX57" fmla="*/ 7313378 w 8551628"/>
              <a:gd name="connsiteY57" fmla="*/ 3676650 h 11413459"/>
              <a:gd name="connsiteX58" fmla="*/ 7484828 w 8551628"/>
              <a:gd name="connsiteY58" fmla="*/ 3867150 h 11413459"/>
              <a:gd name="connsiteX59" fmla="*/ 7580078 w 8551628"/>
              <a:gd name="connsiteY59" fmla="*/ 3981450 h 11413459"/>
              <a:gd name="connsiteX60" fmla="*/ 7599128 w 8551628"/>
              <a:gd name="connsiteY60" fmla="*/ 4191000 h 11413459"/>
              <a:gd name="connsiteX61" fmla="*/ 7351478 w 8551628"/>
              <a:gd name="connsiteY61" fmla="*/ 4210050 h 11413459"/>
              <a:gd name="connsiteX62" fmla="*/ 7313378 w 8551628"/>
              <a:gd name="connsiteY62" fmla="*/ 4629150 h 11413459"/>
              <a:gd name="connsiteX63" fmla="*/ 7313378 w 8551628"/>
              <a:gd name="connsiteY63" fmla="*/ 4629150 h 11413459"/>
              <a:gd name="connsiteX64" fmla="*/ 7522928 w 8551628"/>
              <a:gd name="connsiteY64" fmla="*/ 4857750 h 11413459"/>
              <a:gd name="connsiteX65" fmla="*/ 7561028 w 8551628"/>
              <a:gd name="connsiteY65" fmla="*/ 4933950 h 11413459"/>
              <a:gd name="connsiteX66" fmla="*/ 7427678 w 8551628"/>
              <a:gd name="connsiteY66" fmla="*/ 5124450 h 11413459"/>
              <a:gd name="connsiteX67" fmla="*/ 7199078 w 8551628"/>
              <a:gd name="connsiteY67" fmla="*/ 5257800 h 11413459"/>
              <a:gd name="connsiteX68" fmla="*/ 7103828 w 8551628"/>
              <a:gd name="connsiteY68" fmla="*/ 5391150 h 11413459"/>
              <a:gd name="connsiteX69" fmla="*/ 7103828 w 8551628"/>
              <a:gd name="connsiteY69" fmla="*/ 6172200 h 11413459"/>
              <a:gd name="connsiteX70" fmla="*/ 7103828 w 8551628"/>
              <a:gd name="connsiteY70" fmla="*/ 6343650 h 11413459"/>
              <a:gd name="connsiteX71" fmla="*/ 7027628 w 8551628"/>
              <a:gd name="connsiteY71" fmla="*/ 6572250 h 11413459"/>
              <a:gd name="connsiteX72" fmla="*/ 6932378 w 8551628"/>
              <a:gd name="connsiteY72" fmla="*/ 6819900 h 11413459"/>
              <a:gd name="connsiteX73" fmla="*/ 6875228 w 8551628"/>
              <a:gd name="connsiteY73" fmla="*/ 7048500 h 11413459"/>
              <a:gd name="connsiteX74" fmla="*/ 6875228 w 8551628"/>
              <a:gd name="connsiteY74" fmla="*/ 7296150 h 11413459"/>
              <a:gd name="connsiteX75" fmla="*/ 6818078 w 8551628"/>
              <a:gd name="connsiteY75" fmla="*/ 7962900 h 11413459"/>
              <a:gd name="connsiteX76" fmla="*/ 6532328 w 8551628"/>
              <a:gd name="connsiteY76" fmla="*/ 8477250 h 11413459"/>
              <a:gd name="connsiteX77" fmla="*/ 6170378 w 8551628"/>
              <a:gd name="connsiteY77" fmla="*/ 8953500 h 11413459"/>
              <a:gd name="connsiteX78" fmla="*/ 5979878 w 8551628"/>
              <a:gd name="connsiteY78" fmla="*/ 9315450 h 11413459"/>
              <a:gd name="connsiteX79" fmla="*/ 5675078 w 8551628"/>
              <a:gd name="connsiteY79" fmla="*/ 9886950 h 11413459"/>
              <a:gd name="connsiteX80" fmla="*/ 5122628 w 8551628"/>
              <a:gd name="connsiteY80" fmla="*/ 10687050 h 11413459"/>
              <a:gd name="connsiteX81" fmla="*/ 5008328 w 8551628"/>
              <a:gd name="connsiteY81" fmla="*/ 11258549 h 11413459"/>
              <a:gd name="connsiteX82" fmla="*/ 4173363 w 8551628"/>
              <a:gd name="connsiteY82" fmla="*/ 11404119 h 11413459"/>
              <a:gd name="connsiteX83" fmla="*/ 874478 w 8551628"/>
              <a:gd name="connsiteY83" fmla="*/ 11220449 h 11413459"/>
              <a:gd name="connsiteX84" fmla="*/ 683978 w 8551628"/>
              <a:gd name="connsiteY84" fmla="*/ 11182349 h 11413459"/>
              <a:gd name="connsiteX85" fmla="*/ 417278 w 8551628"/>
              <a:gd name="connsiteY85" fmla="*/ 11353799 h 11413459"/>
              <a:gd name="connsiteX86" fmla="*/ 436329 w 8551628"/>
              <a:gd name="connsiteY86" fmla="*/ 9848849 h 11413459"/>
              <a:gd name="connsiteX87" fmla="*/ 17230 w 8551628"/>
              <a:gd name="connsiteY87" fmla="*/ 9791699 h 11413459"/>
              <a:gd name="connsiteX88" fmla="*/ 112480 w 8551628"/>
              <a:gd name="connsiteY88" fmla="*/ 7524749 h 11413459"/>
              <a:gd name="connsiteX89" fmla="*/ 988780 w 8551628"/>
              <a:gd name="connsiteY89" fmla="*/ 7524749 h 11413459"/>
              <a:gd name="connsiteX90" fmla="*/ 969730 w 8551628"/>
              <a:gd name="connsiteY90" fmla="*/ 8229599 h 11413459"/>
              <a:gd name="connsiteX91" fmla="*/ 867308 w 8551628"/>
              <a:gd name="connsiteY91" fmla="*/ 8139280 h 11413459"/>
              <a:gd name="connsiteX92" fmla="*/ 597919 w 8551628"/>
              <a:gd name="connsiteY92" fmla="*/ 8112386 h 11413459"/>
              <a:gd name="connsiteX93" fmla="*/ 390161 w 8551628"/>
              <a:gd name="connsiteY93" fmla="*/ 8306023 h 11413459"/>
              <a:gd name="connsiteX94" fmla="*/ 325168 w 8551628"/>
              <a:gd name="connsiteY94" fmla="*/ 9373496 h 11413459"/>
              <a:gd name="connsiteX95" fmla="*/ 459190 w 8551628"/>
              <a:gd name="connsiteY95" fmla="*/ 9577890 h 11413459"/>
              <a:gd name="connsiteX96" fmla="*/ 738888 w 8551628"/>
              <a:gd name="connsiteY96" fmla="*/ 9623387 h 11413459"/>
              <a:gd name="connsiteX97" fmla="*/ 986764 w 8551628"/>
              <a:gd name="connsiteY97" fmla="*/ 9469642 h 11413459"/>
              <a:gd name="connsiteX98" fmla="*/ 1051309 w 8551628"/>
              <a:gd name="connsiteY98" fmla="*/ 8393877 h 11413459"/>
              <a:gd name="connsiteX0" fmla="*/ 1045928 w 8551628"/>
              <a:gd name="connsiteY0" fmla="*/ 8362950 h 11405375"/>
              <a:gd name="connsiteX1" fmla="*/ 1045928 w 8551628"/>
              <a:gd name="connsiteY1" fmla="*/ 8362950 h 11405375"/>
              <a:gd name="connsiteX2" fmla="*/ 1002900 w 8551628"/>
              <a:gd name="connsiteY2" fmla="*/ 8237891 h 11405375"/>
              <a:gd name="connsiteX3" fmla="*/ 1007828 w 8551628"/>
              <a:gd name="connsiteY3" fmla="*/ 7524750 h 11405375"/>
              <a:gd name="connsiteX4" fmla="*/ 1941278 w 8551628"/>
              <a:gd name="connsiteY4" fmla="*/ 7562850 h 11405375"/>
              <a:gd name="connsiteX5" fmla="*/ 1979378 w 8551628"/>
              <a:gd name="connsiteY5" fmla="*/ 6705600 h 11405375"/>
              <a:gd name="connsiteX6" fmla="*/ 1560278 w 8551628"/>
              <a:gd name="connsiteY6" fmla="*/ 6705600 h 11405375"/>
              <a:gd name="connsiteX7" fmla="*/ 1579328 w 8551628"/>
              <a:gd name="connsiteY7" fmla="*/ 6496050 h 11405375"/>
              <a:gd name="connsiteX8" fmla="*/ 2265128 w 8551628"/>
              <a:gd name="connsiteY8" fmla="*/ 6572250 h 11405375"/>
              <a:gd name="connsiteX9" fmla="*/ 3636728 w 8551628"/>
              <a:gd name="connsiteY9" fmla="*/ 6629400 h 11405375"/>
              <a:gd name="connsiteX10" fmla="*/ 3598628 w 8551628"/>
              <a:gd name="connsiteY10" fmla="*/ 7448550 h 11405375"/>
              <a:gd name="connsiteX11" fmla="*/ 6303728 w 8551628"/>
              <a:gd name="connsiteY11" fmla="*/ 7620000 h 11405375"/>
              <a:gd name="connsiteX12" fmla="*/ 6875228 w 8551628"/>
              <a:gd name="connsiteY12" fmla="*/ 7181850 h 11405375"/>
              <a:gd name="connsiteX13" fmla="*/ 6894278 w 8551628"/>
              <a:gd name="connsiteY13" fmla="*/ 6915150 h 11405375"/>
              <a:gd name="connsiteX14" fmla="*/ 6970478 w 8551628"/>
              <a:gd name="connsiteY14" fmla="*/ 6686550 h 11405375"/>
              <a:gd name="connsiteX15" fmla="*/ 7065728 w 8551628"/>
              <a:gd name="connsiteY15" fmla="*/ 6515100 h 11405375"/>
              <a:gd name="connsiteX16" fmla="*/ 7084778 w 8551628"/>
              <a:gd name="connsiteY16" fmla="*/ 6172200 h 11405375"/>
              <a:gd name="connsiteX17" fmla="*/ 7065728 w 8551628"/>
              <a:gd name="connsiteY17" fmla="*/ 5695950 h 11405375"/>
              <a:gd name="connsiteX18" fmla="*/ 7103828 w 8551628"/>
              <a:gd name="connsiteY18" fmla="*/ 5391150 h 11405375"/>
              <a:gd name="connsiteX19" fmla="*/ 7275278 w 8551628"/>
              <a:gd name="connsiteY19" fmla="*/ 5219700 h 11405375"/>
              <a:gd name="connsiteX20" fmla="*/ 7465778 w 8551628"/>
              <a:gd name="connsiteY20" fmla="*/ 5067300 h 11405375"/>
              <a:gd name="connsiteX21" fmla="*/ 7561028 w 8551628"/>
              <a:gd name="connsiteY21" fmla="*/ 4933950 h 11405375"/>
              <a:gd name="connsiteX22" fmla="*/ 7503878 w 8551628"/>
              <a:gd name="connsiteY22" fmla="*/ 4781550 h 11405375"/>
              <a:gd name="connsiteX23" fmla="*/ 7351478 w 8551628"/>
              <a:gd name="connsiteY23" fmla="*/ 4648200 h 11405375"/>
              <a:gd name="connsiteX24" fmla="*/ 7351478 w 8551628"/>
              <a:gd name="connsiteY24" fmla="*/ 4648200 h 11405375"/>
              <a:gd name="connsiteX25" fmla="*/ 7351478 w 8551628"/>
              <a:gd name="connsiteY25" fmla="*/ 4210050 h 11405375"/>
              <a:gd name="connsiteX26" fmla="*/ 7618178 w 8551628"/>
              <a:gd name="connsiteY26" fmla="*/ 4210050 h 11405375"/>
              <a:gd name="connsiteX27" fmla="*/ 7694378 w 8551628"/>
              <a:gd name="connsiteY27" fmla="*/ 4438650 h 11405375"/>
              <a:gd name="connsiteX28" fmla="*/ 7732478 w 8551628"/>
              <a:gd name="connsiteY28" fmla="*/ 4629150 h 11405375"/>
              <a:gd name="connsiteX29" fmla="*/ 7789628 w 8551628"/>
              <a:gd name="connsiteY29" fmla="*/ 4895850 h 11405375"/>
              <a:gd name="connsiteX30" fmla="*/ 7732478 w 8551628"/>
              <a:gd name="connsiteY30" fmla="*/ 5067300 h 11405375"/>
              <a:gd name="connsiteX31" fmla="*/ 7999178 w 8551628"/>
              <a:gd name="connsiteY31" fmla="*/ 5314950 h 11405375"/>
              <a:gd name="connsiteX32" fmla="*/ 8551628 w 8551628"/>
              <a:gd name="connsiteY32" fmla="*/ 5467350 h 11405375"/>
              <a:gd name="connsiteX33" fmla="*/ 8265878 w 8551628"/>
              <a:gd name="connsiteY33" fmla="*/ 19050 h 11405375"/>
              <a:gd name="connsiteX34" fmla="*/ 7618178 w 8551628"/>
              <a:gd name="connsiteY34" fmla="*/ 0 h 11405375"/>
              <a:gd name="connsiteX35" fmla="*/ 7180028 w 8551628"/>
              <a:gd name="connsiteY35" fmla="*/ 0 h 11405375"/>
              <a:gd name="connsiteX36" fmla="*/ 6151328 w 8551628"/>
              <a:gd name="connsiteY36" fmla="*/ 190500 h 11405375"/>
              <a:gd name="connsiteX37" fmla="*/ 5446478 w 8551628"/>
              <a:gd name="connsiteY37" fmla="*/ 209550 h 11405375"/>
              <a:gd name="connsiteX38" fmla="*/ 5484578 w 8551628"/>
              <a:gd name="connsiteY38" fmla="*/ 266700 h 11405375"/>
              <a:gd name="connsiteX39" fmla="*/ 5294078 w 8551628"/>
              <a:gd name="connsiteY39" fmla="*/ 285750 h 11405375"/>
              <a:gd name="connsiteX40" fmla="*/ 5313128 w 8551628"/>
              <a:gd name="connsiteY40" fmla="*/ 400050 h 11405375"/>
              <a:gd name="connsiteX41" fmla="*/ 6246578 w 8551628"/>
              <a:gd name="connsiteY41" fmla="*/ 381000 h 11405375"/>
              <a:gd name="connsiteX42" fmla="*/ 6456128 w 8551628"/>
              <a:gd name="connsiteY42" fmla="*/ 457200 h 11405375"/>
              <a:gd name="connsiteX43" fmla="*/ 6646628 w 8551628"/>
              <a:gd name="connsiteY43" fmla="*/ 876300 h 11405375"/>
              <a:gd name="connsiteX44" fmla="*/ 6818078 w 8551628"/>
              <a:gd name="connsiteY44" fmla="*/ 1581150 h 11405375"/>
              <a:gd name="connsiteX45" fmla="*/ 6932378 w 8551628"/>
              <a:gd name="connsiteY45" fmla="*/ 1733550 h 11405375"/>
              <a:gd name="connsiteX46" fmla="*/ 7084778 w 8551628"/>
              <a:gd name="connsiteY46" fmla="*/ 2019300 h 11405375"/>
              <a:gd name="connsiteX47" fmla="*/ 7332428 w 8551628"/>
              <a:gd name="connsiteY47" fmla="*/ 2057400 h 11405375"/>
              <a:gd name="connsiteX48" fmla="*/ 7275278 w 8551628"/>
              <a:gd name="connsiteY48" fmla="*/ 2209800 h 11405375"/>
              <a:gd name="connsiteX49" fmla="*/ 7275278 w 8551628"/>
              <a:gd name="connsiteY49" fmla="*/ 2209800 h 11405375"/>
              <a:gd name="connsiteX50" fmla="*/ 7370528 w 8551628"/>
              <a:gd name="connsiteY50" fmla="*/ 2495550 h 11405375"/>
              <a:gd name="connsiteX51" fmla="*/ 7484828 w 8551628"/>
              <a:gd name="connsiteY51" fmla="*/ 2609850 h 11405375"/>
              <a:gd name="connsiteX52" fmla="*/ 7618178 w 8551628"/>
              <a:gd name="connsiteY52" fmla="*/ 2762250 h 11405375"/>
              <a:gd name="connsiteX53" fmla="*/ 7675328 w 8551628"/>
              <a:gd name="connsiteY53" fmla="*/ 2914650 h 11405375"/>
              <a:gd name="connsiteX54" fmla="*/ 7618178 w 8551628"/>
              <a:gd name="connsiteY54" fmla="*/ 3124200 h 11405375"/>
              <a:gd name="connsiteX55" fmla="*/ 7389578 w 8551628"/>
              <a:gd name="connsiteY55" fmla="*/ 3333750 h 11405375"/>
              <a:gd name="connsiteX56" fmla="*/ 7294328 w 8551628"/>
              <a:gd name="connsiteY56" fmla="*/ 3505200 h 11405375"/>
              <a:gd name="connsiteX57" fmla="*/ 7313378 w 8551628"/>
              <a:gd name="connsiteY57" fmla="*/ 3676650 h 11405375"/>
              <a:gd name="connsiteX58" fmla="*/ 7484828 w 8551628"/>
              <a:gd name="connsiteY58" fmla="*/ 3867150 h 11405375"/>
              <a:gd name="connsiteX59" fmla="*/ 7580078 w 8551628"/>
              <a:gd name="connsiteY59" fmla="*/ 3981450 h 11405375"/>
              <a:gd name="connsiteX60" fmla="*/ 7599128 w 8551628"/>
              <a:gd name="connsiteY60" fmla="*/ 4191000 h 11405375"/>
              <a:gd name="connsiteX61" fmla="*/ 7351478 w 8551628"/>
              <a:gd name="connsiteY61" fmla="*/ 4210050 h 11405375"/>
              <a:gd name="connsiteX62" fmla="*/ 7313378 w 8551628"/>
              <a:gd name="connsiteY62" fmla="*/ 4629150 h 11405375"/>
              <a:gd name="connsiteX63" fmla="*/ 7313378 w 8551628"/>
              <a:gd name="connsiteY63" fmla="*/ 4629150 h 11405375"/>
              <a:gd name="connsiteX64" fmla="*/ 7522928 w 8551628"/>
              <a:gd name="connsiteY64" fmla="*/ 4857750 h 11405375"/>
              <a:gd name="connsiteX65" fmla="*/ 7561028 w 8551628"/>
              <a:gd name="connsiteY65" fmla="*/ 4933950 h 11405375"/>
              <a:gd name="connsiteX66" fmla="*/ 7427678 w 8551628"/>
              <a:gd name="connsiteY66" fmla="*/ 5124450 h 11405375"/>
              <a:gd name="connsiteX67" fmla="*/ 7199078 w 8551628"/>
              <a:gd name="connsiteY67" fmla="*/ 5257800 h 11405375"/>
              <a:gd name="connsiteX68" fmla="*/ 7103828 w 8551628"/>
              <a:gd name="connsiteY68" fmla="*/ 5391150 h 11405375"/>
              <a:gd name="connsiteX69" fmla="*/ 7103828 w 8551628"/>
              <a:gd name="connsiteY69" fmla="*/ 6172200 h 11405375"/>
              <a:gd name="connsiteX70" fmla="*/ 7103828 w 8551628"/>
              <a:gd name="connsiteY70" fmla="*/ 6343650 h 11405375"/>
              <a:gd name="connsiteX71" fmla="*/ 7027628 w 8551628"/>
              <a:gd name="connsiteY71" fmla="*/ 6572250 h 11405375"/>
              <a:gd name="connsiteX72" fmla="*/ 6932378 w 8551628"/>
              <a:gd name="connsiteY72" fmla="*/ 6819900 h 11405375"/>
              <a:gd name="connsiteX73" fmla="*/ 6875228 w 8551628"/>
              <a:gd name="connsiteY73" fmla="*/ 7048500 h 11405375"/>
              <a:gd name="connsiteX74" fmla="*/ 6875228 w 8551628"/>
              <a:gd name="connsiteY74" fmla="*/ 7296150 h 11405375"/>
              <a:gd name="connsiteX75" fmla="*/ 6818078 w 8551628"/>
              <a:gd name="connsiteY75" fmla="*/ 7962900 h 11405375"/>
              <a:gd name="connsiteX76" fmla="*/ 6532328 w 8551628"/>
              <a:gd name="connsiteY76" fmla="*/ 8477250 h 11405375"/>
              <a:gd name="connsiteX77" fmla="*/ 6170378 w 8551628"/>
              <a:gd name="connsiteY77" fmla="*/ 8953500 h 11405375"/>
              <a:gd name="connsiteX78" fmla="*/ 5979878 w 8551628"/>
              <a:gd name="connsiteY78" fmla="*/ 9315450 h 11405375"/>
              <a:gd name="connsiteX79" fmla="*/ 5675078 w 8551628"/>
              <a:gd name="connsiteY79" fmla="*/ 9886950 h 11405375"/>
              <a:gd name="connsiteX80" fmla="*/ 5122628 w 8551628"/>
              <a:gd name="connsiteY80" fmla="*/ 10687050 h 11405375"/>
              <a:gd name="connsiteX81" fmla="*/ 5008328 w 8551628"/>
              <a:gd name="connsiteY81" fmla="*/ 11258549 h 11405375"/>
              <a:gd name="connsiteX82" fmla="*/ 4173363 w 8551628"/>
              <a:gd name="connsiteY82" fmla="*/ 11404119 h 11405375"/>
              <a:gd name="connsiteX83" fmla="*/ 4284787 w 8551628"/>
              <a:gd name="connsiteY83" fmla="*/ 9339891 h 11405375"/>
              <a:gd name="connsiteX84" fmla="*/ 683978 w 8551628"/>
              <a:gd name="connsiteY84" fmla="*/ 11182349 h 11405375"/>
              <a:gd name="connsiteX85" fmla="*/ 417278 w 8551628"/>
              <a:gd name="connsiteY85" fmla="*/ 11353799 h 11405375"/>
              <a:gd name="connsiteX86" fmla="*/ 436329 w 8551628"/>
              <a:gd name="connsiteY86" fmla="*/ 9848849 h 11405375"/>
              <a:gd name="connsiteX87" fmla="*/ 17230 w 8551628"/>
              <a:gd name="connsiteY87" fmla="*/ 9791699 h 11405375"/>
              <a:gd name="connsiteX88" fmla="*/ 112480 w 8551628"/>
              <a:gd name="connsiteY88" fmla="*/ 7524749 h 11405375"/>
              <a:gd name="connsiteX89" fmla="*/ 988780 w 8551628"/>
              <a:gd name="connsiteY89" fmla="*/ 7524749 h 11405375"/>
              <a:gd name="connsiteX90" fmla="*/ 969730 w 8551628"/>
              <a:gd name="connsiteY90" fmla="*/ 8229599 h 11405375"/>
              <a:gd name="connsiteX91" fmla="*/ 867308 w 8551628"/>
              <a:gd name="connsiteY91" fmla="*/ 8139280 h 11405375"/>
              <a:gd name="connsiteX92" fmla="*/ 597919 w 8551628"/>
              <a:gd name="connsiteY92" fmla="*/ 8112386 h 11405375"/>
              <a:gd name="connsiteX93" fmla="*/ 390161 w 8551628"/>
              <a:gd name="connsiteY93" fmla="*/ 8306023 h 11405375"/>
              <a:gd name="connsiteX94" fmla="*/ 325168 w 8551628"/>
              <a:gd name="connsiteY94" fmla="*/ 9373496 h 11405375"/>
              <a:gd name="connsiteX95" fmla="*/ 459190 w 8551628"/>
              <a:gd name="connsiteY95" fmla="*/ 9577890 h 11405375"/>
              <a:gd name="connsiteX96" fmla="*/ 738888 w 8551628"/>
              <a:gd name="connsiteY96" fmla="*/ 9623387 h 11405375"/>
              <a:gd name="connsiteX97" fmla="*/ 986764 w 8551628"/>
              <a:gd name="connsiteY97" fmla="*/ 9469642 h 11405375"/>
              <a:gd name="connsiteX98" fmla="*/ 1051309 w 8551628"/>
              <a:gd name="connsiteY98" fmla="*/ 8393877 h 11405375"/>
              <a:gd name="connsiteX0" fmla="*/ 1045928 w 8551628"/>
              <a:gd name="connsiteY0" fmla="*/ 8362950 h 11404119"/>
              <a:gd name="connsiteX1" fmla="*/ 1045928 w 8551628"/>
              <a:gd name="connsiteY1" fmla="*/ 8362950 h 11404119"/>
              <a:gd name="connsiteX2" fmla="*/ 1002900 w 8551628"/>
              <a:gd name="connsiteY2" fmla="*/ 8237891 h 11404119"/>
              <a:gd name="connsiteX3" fmla="*/ 1007828 w 8551628"/>
              <a:gd name="connsiteY3" fmla="*/ 7524750 h 11404119"/>
              <a:gd name="connsiteX4" fmla="*/ 1941278 w 8551628"/>
              <a:gd name="connsiteY4" fmla="*/ 7562850 h 11404119"/>
              <a:gd name="connsiteX5" fmla="*/ 1979378 w 8551628"/>
              <a:gd name="connsiteY5" fmla="*/ 6705600 h 11404119"/>
              <a:gd name="connsiteX6" fmla="*/ 1560278 w 8551628"/>
              <a:gd name="connsiteY6" fmla="*/ 6705600 h 11404119"/>
              <a:gd name="connsiteX7" fmla="*/ 1579328 w 8551628"/>
              <a:gd name="connsiteY7" fmla="*/ 6496050 h 11404119"/>
              <a:gd name="connsiteX8" fmla="*/ 2265128 w 8551628"/>
              <a:gd name="connsiteY8" fmla="*/ 6572250 h 11404119"/>
              <a:gd name="connsiteX9" fmla="*/ 3636728 w 8551628"/>
              <a:gd name="connsiteY9" fmla="*/ 6629400 h 11404119"/>
              <a:gd name="connsiteX10" fmla="*/ 3598628 w 8551628"/>
              <a:gd name="connsiteY10" fmla="*/ 7448550 h 11404119"/>
              <a:gd name="connsiteX11" fmla="*/ 6303728 w 8551628"/>
              <a:gd name="connsiteY11" fmla="*/ 7620000 h 11404119"/>
              <a:gd name="connsiteX12" fmla="*/ 6875228 w 8551628"/>
              <a:gd name="connsiteY12" fmla="*/ 7181850 h 11404119"/>
              <a:gd name="connsiteX13" fmla="*/ 6894278 w 8551628"/>
              <a:gd name="connsiteY13" fmla="*/ 6915150 h 11404119"/>
              <a:gd name="connsiteX14" fmla="*/ 6970478 w 8551628"/>
              <a:gd name="connsiteY14" fmla="*/ 6686550 h 11404119"/>
              <a:gd name="connsiteX15" fmla="*/ 7065728 w 8551628"/>
              <a:gd name="connsiteY15" fmla="*/ 6515100 h 11404119"/>
              <a:gd name="connsiteX16" fmla="*/ 7084778 w 8551628"/>
              <a:gd name="connsiteY16" fmla="*/ 6172200 h 11404119"/>
              <a:gd name="connsiteX17" fmla="*/ 7065728 w 8551628"/>
              <a:gd name="connsiteY17" fmla="*/ 5695950 h 11404119"/>
              <a:gd name="connsiteX18" fmla="*/ 7103828 w 8551628"/>
              <a:gd name="connsiteY18" fmla="*/ 5391150 h 11404119"/>
              <a:gd name="connsiteX19" fmla="*/ 7275278 w 8551628"/>
              <a:gd name="connsiteY19" fmla="*/ 5219700 h 11404119"/>
              <a:gd name="connsiteX20" fmla="*/ 7465778 w 8551628"/>
              <a:gd name="connsiteY20" fmla="*/ 5067300 h 11404119"/>
              <a:gd name="connsiteX21" fmla="*/ 7561028 w 8551628"/>
              <a:gd name="connsiteY21" fmla="*/ 4933950 h 11404119"/>
              <a:gd name="connsiteX22" fmla="*/ 7503878 w 8551628"/>
              <a:gd name="connsiteY22" fmla="*/ 4781550 h 11404119"/>
              <a:gd name="connsiteX23" fmla="*/ 7351478 w 8551628"/>
              <a:gd name="connsiteY23" fmla="*/ 4648200 h 11404119"/>
              <a:gd name="connsiteX24" fmla="*/ 7351478 w 8551628"/>
              <a:gd name="connsiteY24" fmla="*/ 4648200 h 11404119"/>
              <a:gd name="connsiteX25" fmla="*/ 7351478 w 8551628"/>
              <a:gd name="connsiteY25" fmla="*/ 4210050 h 11404119"/>
              <a:gd name="connsiteX26" fmla="*/ 7618178 w 8551628"/>
              <a:gd name="connsiteY26" fmla="*/ 4210050 h 11404119"/>
              <a:gd name="connsiteX27" fmla="*/ 7694378 w 8551628"/>
              <a:gd name="connsiteY27" fmla="*/ 4438650 h 11404119"/>
              <a:gd name="connsiteX28" fmla="*/ 7732478 w 8551628"/>
              <a:gd name="connsiteY28" fmla="*/ 4629150 h 11404119"/>
              <a:gd name="connsiteX29" fmla="*/ 7789628 w 8551628"/>
              <a:gd name="connsiteY29" fmla="*/ 4895850 h 11404119"/>
              <a:gd name="connsiteX30" fmla="*/ 7732478 w 8551628"/>
              <a:gd name="connsiteY30" fmla="*/ 5067300 h 11404119"/>
              <a:gd name="connsiteX31" fmla="*/ 7999178 w 8551628"/>
              <a:gd name="connsiteY31" fmla="*/ 5314950 h 11404119"/>
              <a:gd name="connsiteX32" fmla="*/ 8551628 w 8551628"/>
              <a:gd name="connsiteY32" fmla="*/ 5467350 h 11404119"/>
              <a:gd name="connsiteX33" fmla="*/ 8265878 w 8551628"/>
              <a:gd name="connsiteY33" fmla="*/ 19050 h 11404119"/>
              <a:gd name="connsiteX34" fmla="*/ 7618178 w 8551628"/>
              <a:gd name="connsiteY34" fmla="*/ 0 h 11404119"/>
              <a:gd name="connsiteX35" fmla="*/ 7180028 w 8551628"/>
              <a:gd name="connsiteY35" fmla="*/ 0 h 11404119"/>
              <a:gd name="connsiteX36" fmla="*/ 6151328 w 8551628"/>
              <a:gd name="connsiteY36" fmla="*/ 190500 h 11404119"/>
              <a:gd name="connsiteX37" fmla="*/ 5446478 w 8551628"/>
              <a:gd name="connsiteY37" fmla="*/ 209550 h 11404119"/>
              <a:gd name="connsiteX38" fmla="*/ 5484578 w 8551628"/>
              <a:gd name="connsiteY38" fmla="*/ 266700 h 11404119"/>
              <a:gd name="connsiteX39" fmla="*/ 5294078 w 8551628"/>
              <a:gd name="connsiteY39" fmla="*/ 285750 h 11404119"/>
              <a:gd name="connsiteX40" fmla="*/ 5313128 w 8551628"/>
              <a:gd name="connsiteY40" fmla="*/ 400050 h 11404119"/>
              <a:gd name="connsiteX41" fmla="*/ 6246578 w 8551628"/>
              <a:gd name="connsiteY41" fmla="*/ 381000 h 11404119"/>
              <a:gd name="connsiteX42" fmla="*/ 6456128 w 8551628"/>
              <a:gd name="connsiteY42" fmla="*/ 457200 h 11404119"/>
              <a:gd name="connsiteX43" fmla="*/ 6646628 w 8551628"/>
              <a:gd name="connsiteY43" fmla="*/ 876300 h 11404119"/>
              <a:gd name="connsiteX44" fmla="*/ 6818078 w 8551628"/>
              <a:gd name="connsiteY44" fmla="*/ 1581150 h 11404119"/>
              <a:gd name="connsiteX45" fmla="*/ 6932378 w 8551628"/>
              <a:gd name="connsiteY45" fmla="*/ 1733550 h 11404119"/>
              <a:gd name="connsiteX46" fmla="*/ 7084778 w 8551628"/>
              <a:gd name="connsiteY46" fmla="*/ 2019300 h 11404119"/>
              <a:gd name="connsiteX47" fmla="*/ 7332428 w 8551628"/>
              <a:gd name="connsiteY47" fmla="*/ 2057400 h 11404119"/>
              <a:gd name="connsiteX48" fmla="*/ 7275278 w 8551628"/>
              <a:gd name="connsiteY48" fmla="*/ 2209800 h 11404119"/>
              <a:gd name="connsiteX49" fmla="*/ 7275278 w 8551628"/>
              <a:gd name="connsiteY49" fmla="*/ 2209800 h 11404119"/>
              <a:gd name="connsiteX50" fmla="*/ 7370528 w 8551628"/>
              <a:gd name="connsiteY50" fmla="*/ 2495550 h 11404119"/>
              <a:gd name="connsiteX51" fmla="*/ 7484828 w 8551628"/>
              <a:gd name="connsiteY51" fmla="*/ 2609850 h 11404119"/>
              <a:gd name="connsiteX52" fmla="*/ 7618178 w 8551628"/>
              <a:gd name="connsiteY52" fmla="*/ 2762250 h 11404119"/>
              <a:gd name="connsiteX53" fmla="*/ 7675328 w 8551628"/>
              <a:gd name="connsiteY53" fmla="*/ 2914650 h 11404119"/>
              <a:gd name="connsiteX54" fmla="*/ 7618178 w 8551628"/>
              <a:gd name="connsiteY54" fmla="*/ 3124200 h 11404119"/>
              <a:gd name="connsiteX55" fmla="*/ 7389578 w 8551628"/>
              <a:gd name="connsiteY55" fmla="*/ 3333750 h 11404119"/>
              <a:gd name="connsiteX56" fmla="*/ 7294328 w 8551628"/>
              <a:gd name="connsiteY56" fmla="*/ 3505200 h 11404119"/>
              <a:gd name="connsiteX57" fmla="*/ 7313378 w 8551628"/>
              <a:gd name="connsiteY57" fmla="*/ 3676650 h 11404119"/>
              <a:gd name="connsiteX58" fmla="*/ 7484828 w 8551628"/>
              <a:gd name="connsiteY58" fmla="*/ 3867150 h 11404119"/>
              <a:gd name="connsiteX59" fmla="*/ 7580078 w 8551628"/>
              <a:gd name="connsiteY59" fmla="*/ 3981450 h 11404119"/>
              <a:gd name="connsiteX60" fmla="*/ 7599128 w 8551628"/>
              <a:gd name="connsiteY60" fmla="*/ 4191000 h 11404119"/>
              <a:gd name="connsiteX61" fmla="*/ 7351478 w 8551628"/>
              <a:gd name="connsiteY61" fmla="*/ 4210050 h 11404119"/>
              <a:gd name="connsiteX62" fmla="*/ 7313378 w 8551628"/>
              <a:gd name="connsiteY62" fmla="*/ 4629150 h 11404119"/>
              <a:gd name="connsiteX63" fmla="*/ 7313378 w 8551628"/>
              <a:gd name="connsiteY63" fmla="*/ 4629150 h 11404119"/>
              <a:gd name="connsiteX64" fmla="*/ 7522928 w 8551628"/>
              <a:gd name="connsiteY64" fmla="*/ 4857750 h 11404119"/>
              <a:gd name="connsiteX65" fmla="*/ 7561028 w 8551628"/>
              <a:gd name="connsiteY65" fmla="*/ 4933950 h 11404119"/>
              <a:gd name="connsiteX66" fmla="*/ 7427678 w 8551628"/>
              <a:gd name="connsiteY66" fmla="*/ 5124450 h 11404119"/>
              <a:gd name="connsiteX67" fmla="*/ 7199078 w 8551628"/>
              <a:gd name="connsiteY67" fmla="*/ 5257800 h 11404119"/>
              <a:gd name="connsiteX68" fmla="*/ 7103828 w 8551628"/>
              <a:gd name="connsiteY68" fmla="*/ 5391150 h 11404119"/>
              <a:gd name="connsiteX69" fmla="*/ 7103828 w 8551628"/>
              <a:gd name="connsiteY69" fmla="*/ 6172200 h 11404119"/>
              <a:gd name="connsiteX70" fmla="*/ 7103828 w 8551628"/>
              <a:gd name="connsiteY70" fmla="*/ 6343650 h 11404119"/>
              <a:gd name="connsiteX71" fmla="*/ 7027628 w 8551628"/>
              <a:gd name="connsiteY71" fmla="*/ 6572250 h 11404119"/>
              <a:gd name="connsiteX72" fmla="*/ 6932378 w 8551628"/>
              <a:gd name="connsiteY72" fmla="*/ 6819900 h 11404119"/>
              <a:gd name="connsiteX73" fmla="*/ 6875228 w 8551628"/>
              <a:gd name="connsiteY73" fmla="*/ 7048500 h 11404119"/>
              <a:gd name="connsiteX74" fmla="*/ 6875228 w 8551628"/>
              <a:gd name="connsiteY74" fmla="*/ 7296150 h 11404119"/>
              <a:gd name="connsiteX75" fmla="*/ 6818078 w 8551628"/>
              <a:gd name="connsiteY75" fmla="*/ 7962900 h 11404119"/>
              <a:gd name="connsiteX76" fmla="*/ 6532328 w 8551628"/>
              <a:gd name="connsiteY76" fmla="*/ 8477250 h 11404119"/>
              <a:gd name="connsiteX77" fmla="*/ 6170378 w 8551628"/>
              <a:gd name="connsiteY77" fmla="*/ 8953500 h 11404119"/>
              <a:gd name="connsiteX78" fmla="*/ 5979878 w 8551628"/>
              <a:gd name="connsiteY78" fmla="*/ 9315450 h 11404119"/>
              <a:gd name="connsiteX79" fmla="*/ 5675078 w 8551628"/>
              <a:gd name="connsiteY79" fmla="*/ 9886950 h 11404119"/>
              <a:gd name="connsiteX80" fmla="*/ 5122628 w 8551628"/>
              <a:gd name="connsiteY80" fmla="*/ 10687050 h 11404119"/>
              <a:gd name="connsiteX81" fmla="*/ 5008328 w 8551628"/>
              <a:gd name="connsiteY81" fmla="*/ 11258549 h 11404119"/>
              <a:gd name="connsiteX82" fmla="*/ 4173363 w 8551628"/>
              <a:gd name="connsiteY82" fmla="*/ 11404119 h 11404119"/>
              <a:gd name="connsiteX83" fmla="*/ 4284787 w 8551628"/>
              <a:gd name="connsiteY83" fmla="*/ 9339891 h 11404119"/>
              <a:gd name="connsiteX84" fmla="*/ 683978 w 8551628"/>
              <a:gd name="connsiteY84" fmla="*/ 11182349 h 11404119"/>
              <a:gd name="connsiteX85" fmla="*/ 417278 w 8551628"/>
              <a:gd name="connsiteY85" fmla="*/ 11353799 h 11404119"/>
              <a:gd name="connsiteX86" fmla="*/ 436329 w 8551628"/>
              <a:gd name="connsiteY86" fmla="*/ 9848849 h 11404119"/>
              <a:gd name="connsiteX87" fmla="*/ 17230 w 8551628"/>
              <a:gd name="connsiteY87" fmla="*/ 9791699 h 11404119"/>
              <a:gd name="connsiteX88" fmla="*/ 112480 w 8551628"/>
              <a:gd name="connsiteY88" fmla="*/ 7524749 h 11404119"/>
              <a:gd name="connsiteX89" fmla="*/ 988780 w 8551628"/>
              <a:gd name="connsiteY89" fmla="*/ 7524749 h 11404119"/>
              <a:gd name="connsiteX90" fmla="*/ 969730 w 8551628"/>
              <a:gd name="connsiteY90" fmla="*/ 8229599 h 11404119"/>
              <a:gd name="connsiteX91" fmla="*/ 867308 w 8551628"/>
              <a:gd name="connsiteY91" fmla="*/ 8139280 h 11404119"/>
              <a:gd name="connsiteX92" fmla="*/ 597919 w 8551628"/>
              <a:gd name="connsiteY92" fmla="*/ 8112386 h 11404119"/>
              <a:gd name="connsiteX93" fmla="*/ 390161 w 8551628"/>
              <a:gd name="connsiteY93" fmla="*/ 8306023 h 11404119"/>
              <a:gd name="connsiteX94" fmla="*/ 325168 w 8551628"/>
              <a:gd name="connsiteY94" fmla="*/ 9373496 h 11404119"/>
              <a:gd name="connsiteX95" fmla="*/ 459190 w 8551628"/>
              <a:gd name="connsiteY95" fmla="*/ 9577890 h 11404119"/>
              <a:gd name="connsiteX96" fmla="*/ 738888 w 8551628"/>
              <a:gd name="connsiteY96" fmla="*/ 9623387 h 11404119"/>
              <a:gd name="connsiteX97" fmla="*/ 986764 w 8551628"/>
              <a:gd name="connsiteY97" fmla="*/ 9469642 h 11404119"/>
              <a:gd name="connsiteX98" fmla="*/ 1051309 w 8551628"/>
              <a:gd name="connsiteY98" fmla="*/ 8393877 h 11404119"/>
              <a:gd name="connsiteX0" fmla="*/ 1045928 w 8551628"/>
              <a:gd name="connsiteY0" fmla="*/ 8362950 h 11404119"/>
              <a:gd name="connsiteX1" fmla="*/ 1045928 w 8551628"/>
              <a:gd name="connsiteY1" fmla="*/ 8362950 h 11404119"/>
              <a:gd name="connsiteX2" fmla="*/ 1002900 w 8551628"/>
              <a:gd name="connsiteY2" fmla="*/ 8237891 h 11404119"/>
              <a:gd name="connsiteX3" fmla="*/ 1007828 w 8551628"/>
              <a:gd name="connsiteY3" fmla="*/ 7524750 h 11404119"/>
              <a:gd name="connsiteX4" fmla="*/ 1941278 w 8551628"/>
              <a:gd name="connsiteY4" fmla="*/ 7562850 h 11404119"/>
              <a:gd name="connsiteX5" fmla="*/ 1979378 w 8551628"/>
              <a:gd name="connsiteY5" fmla="*/ 6705600 h 11404119"/>
              <a:gd name="connsiteX6" fmla="*/ 1560278 w 8551628"/>
              <a:gd name="connsiteY6" fmla="*/ 6705600 h 11404119"/>
              <a:gd name="connsiteX7" fmla="*/ 1579328 w 8551628"/>
              <a:gd name="connsiteY7" fmla="*/ 6496050 h 11404119"/>
              <a:gd name="connsiteX8" fmla="*/ 2265128 w 8551628"/>
              <a:gd name="connsiteY8" fmla="*/ 6572250 h 11404119"/>
              <a:gd name="connsiteX9" fmla="*/ 3636728 w 8551628"/>
              <a:gd name="connsiteY9" fmla="*/ 6629400 h 11404119"/>
              <a:gd name="connsiteX10" fmla="*/ 3598628 w 8551628"/>
              <a:gd name="connsiteY10" fmla="*/ 7448550 h 11404119"/>
              <a:gd name="connsiteX11" fmla="*/ 6303728 w 8551628"/>
              <a:gd name="connsiteY11" fmla="*/ 7620000 h 11404119"/>
              <a:gd name="connsiteX12" fmla="*/ 6875228 w 8551628"/>
              <a:gd name="connsiteY12" fmla="*/ 7181850 h 11404119"/>
              <a:gd name="connsiteX13" fmla="*/ 6894278 w 8551628"/>
              <a:gd name="connsiteY13" fmla="*/ 6915150 h 11404119"/>
              <a:gd name="connsiteX14" fmla="*/ 6970478 w 8551628"/>
              <a:gd name="connsiteY14" fmla="*/ 6686550 h 11404119"/>
              <a:gd name="connsiteX15" fmla="*/ 7065728 w 8551628"/>
              <a:gd name="connsiteY15" fmla="*/ 6515100 h 11404119"/>
              <a:gd name="connsiteX16" fmla="*/ 7084778 w 8551628"/>
              <a:gd name="connsiteY16" fmla="*/ 6172200 h 11404119"/>
              <a:gd name="connsiteX17" fmla="*/ 7065728 w 8551628"/>
              <a:gd name="connsiteY17" fmla="*/ 5695950 h 11404119"/>
              <a:gd name="connsiteX18" fmla="*/ 7103828 w 8551628"/>
              <a:gd name="connsiteY18" fmla="*/ 5391150 h 11404119"/>
              <a:gd name="connsiteX19" fmla="*/ 7275278 w 8551628"/>
              <a:gd name="connsiteY19" fmla="*/ 5219700 h 11404119"/>
              <a:gd name="connsiteX20" fmla="*/ 7465778 w 8551628"/>
              <a:gd name="connsiteY20" fmla="*/ 5067300 h 11404119"/>
              <a:gd name="connsiteX21" fmla="*/ 7561028 w 8551628"/>
              <a:gd name="connsiteY21" fmla="*/ 4933950 h 11404119"/>
              <a:gd name="connsiteX22" fmla="*/ 7503878 w 8551628"/>
              <a:gd name="connsiteY22" fmla="*/ 4781550 h 11404119"/>
              <a:gd name="connsiteX23" fmla="*/ 7351478 w 8551628"/>
              <a:gd name="connsiteY23" fmla="*/ 4648200 h 11404119"/>
              <a:gd name="connsiteX24" fmla="*/ 7351478 w 8551628"/>
              <a:gd name="connsiteY24" fmla="*/ 4648200 h 11404119"/>
              <a:gd name="connsiteX25" fmla="*/ 7351478 w 8551628"/>
              <a:gd name="connsiteY25" fmla="*/ 4210050 h 11404119"/>
              <a:gd name="connsiteX26" fmla="*/ 7618178 w 8551628"/>
              <a:gd name="connsiteY26" fmla="*/ 4210050 h 11404119"/>
              <a:gd name="connsiteX27" fmla="*/ 7694378 w 8551628"/>
              <a:gd name="connsiteY27" fmla="*/ 4438650 h 11404119"/>
              <a:gd name="connsiteX28" fmla="*/ 7732478 w 8551628"/>
              <a:gd name="connsiteY28" fmla="*/ 4629150 h 11404119"/>
              <a:gd name="connsiteX29" fmla="*/ 7789628 w 8551628"/>
              <a:gd name="connsiteY29" fmla="*/ 4895850 h 11404119"/>
              <a:gd name="connsiteX30" fmla="*/ 7732478 w 8551628"/>
              <a:gd name="connsiteY30" fmla="*/ 5067300 h 11404119"/>
              <a:gd name="connsiteX31" fmla="*/ 7999178 w 8551628"/>
              <a:gd name="connsiteY31" fmla="*/ 5314950 h 11404119"/>
              <a:gd name="connsiteX32" fmla="*/ 8551628 w 8551628"/>
              <a:gd name="connsiteY32" fmla="*/ 5467350 h 11404119"/>
              <a:gd name="connsiteX33" fmla="*/ 8265878 w 8551628"/>
              <a:gd name="connsiteY33" fmla="*/ 19050 h 11404119"/>
              <a:gd name="connsiteX34" fmla="*/ 7618178 w 8551628"/>
              <a:gd name="connsiteY34" fmla="*/ 0 h 11404119"/>
              <a:gd name="connsiteX35" fmla="*/ 7180028 w 8551628"/>
              <a:gd name="connsiteY35" fmla="*/ 0 h 11404119"/>
              <a:gd name="connsiteX36" fmla="*/ 6151328 w 8551628"/>
              <a:gd name="connsiteY36" fmla="*/ 190500 h 11404119"/>
              <a:gd name="connsiteX37" fmla="*/ 5446478 w 8551628"/>
              <a:gd name="connsiteY37" fmla="*/ 209550 h 11404119"/>
              <a:gd name="connsiteX38" fmla="*/ 5484578 w 8551628"/>
              <a:gd name="connsiteY38" fmla="*/ 266700 h 11404119"/>
              <a:gd name="connsiteX39" fmla="*/ 5294078 w 8551628"/>
              <a:gd name="connsiteY39" fmla="*/ 285750 h 11404119"/>
              <a:gd name="connsiteX40" fmla="*/ 5313128 w 8551628"/>
              <a:gd name="connsiteY40" fmla="*/ 400050 h 11404119"/>
              <a:gd name="connsiteX41" fmla="*/ 6246578 w 8551628"/>
              <a:gd name="connsiteY41" fmla="*/ 381000 h 11404119"/>
              <a:gd name="connsiteX42" fmla="*/ 6456128 w 8551628"/>
              <a:gd name="connsiteY42" fmla="*/ 457200 h 11404119"/>
              <a:gd name="connsiteX43" fmla="*/ 6646628 w 8551628"/>
              <a:gd name="connsiteY43" fmla="*/ 876300 h 11404119"/>
              <a:gd name="connsiteX44" fmla="*/ 6818078 w 8551628"/>
              <a:gd name="connsiteY44" fmla="*/ 1581150 h 11404119"/>
              <a:gd name="connsiteX45" fmla="*/ 6932378 w 8551628"/>
              <a:gd name="connsiteY45" fmla="*/ 1733550 h 11404119"/>
              <a:gd name="connsiteX46" fmla="*/ 7084778 w 8551628"/>
              <a:gd name="connsiteY46" fmla="*/ 2019300 h 11404119"/>
              <a:gd name="connsiteX47" fmla="*/ 7332428 w 8551628"/>
              <a:gd name="connsiteY47" fmla="*/ 2057400 h 11404119"/>
              <a:gd name="connsiteX48" fmla="*/ 7275278 w 8551628"/>
              <a:gd name="connsiteY48" fmla="*/ 2209800 h 11404119"/>
              <a:gd name="connsiteX49" fmla="*/ 7275278 w 8551628"/>
              <a:gd name="connsiteY49" fmla="*/ 2209800 h 11404119"/>
              <a:gd name="connsiteX50" fmla="*/ 7370528 w 8551628"/>
              <a:gd name="connsiteY50" fmla="*/ 2495550 h 11404119"/>
              <a:gd name="connsiteX51" fmla="*/ 7484828 w 8551628"/>
              <a:gd name="connsiteY51" fmla="*/ 2609850 h 11404119"/>
              <a:gd name="connsiteX52" fmla="*/ 7618178 w 8551628"/>
              <a:gd name="connsiteY52" fmla="*/ 2762250 h 11404119"/>
              <a:gd name="connsiteX53" fmla="*/ 7675328 w 8551628"/>
              <a:gd name="connsiteY53" fmla="*/ 2914650 h 11404119"/>
              <a:gd name="connsiteX54" fmla="*/ 7618178 w 8551628"/>
              <a:gd name="connsiteY54" fmla="*/ 3124200 h 11404119"/>
              <a:gd name="connsiteX55" fmla="*/ 7389578 w 8551628"/>
              <a:gd name="connsiteY55" fmla="*/ 3333750 h 11404119"/>
              <a:gd name="connsiteX56" fmla="*/ 7294328 w 8551628"/>
              <a:gd name="connsiteY56" fmla="*/ 3505200 h 11404119"/>
              <a:gd name="connsiteX57" fmla="*/ 7313378 w 8551628"/>
              <a:gd name="connsiteY57" fmla="*/ 3676650 h 11404119"/>
              <a:gd name="connsiteX58" fmla="*/ 7484828 w 8551628"/>
              <a:gd name="connsiteY58" fmla="*/ 3867150 h 11404119"/>
              <a:gd name="connsiteX59" fmla="*/ 7580078 w 8551628"/>
              <a:gd name="connsiteY59" fmla="*/ 3981450 h 11404119"/>
              <a:gd name="connsiteX60" fmla="*/ 7599128 w 8551628"/>
              <a:gd name="connsiteY60" fmla="*/ 4191000 h 11404119"/>
              <a:gd name="connsiteX61" fmla="*/ 7351478 w 8551628"/>
              <a:gd name="connsiteY61" fmla="*/ 4210050 h 11404119"/>
              <a:gd name="connsiteX62" fmla="*/ 7313378 w 8551628"/>
              <a:gd name="connsiteY62" fmla="*/ 4629150 h 11404119"/>
              <a:gd name="connsiteX63" fmla="*/ 7313378 w 8551628"/>
              <a:gd name="connsiteY63" fmla="*/ 4629150 h 11404119"/>
              <a:gd name="connsiteX64" fmla="*/ 7522928 w 8551628"/>
              <a:gd name="connsiteY64" fmla="*/ 4857750 h 11404119"/>
              <a:gd name="connsiteX65" fmla="*/ 7561028 w 8551628"/>
              <a:gd name="connsiteY65" fmla="*/ 4933950 h 11404119"/>
              <a:gd name="connsiteX66" fmla="*/ 7427678 w 8551628"/>
              <a:gd name="connsiteY66" fmla="*/ 5124450 h 11404119"/>
              <a:gd name="connsiteX67" fmla="*/ 7199078 w 8551628"/>
              <a:gd name="connsiteY67" fmla="*/ 5257800 h 11404119"/>
              <a:gd name="connsiteX68" fmla="*/ 7103828 w 8551628"/>
              <a:gd name="connsiteY68" fmla="*/ 5391150 h 11404119"/>
              <a:gd name="connsiteX69" fmla="*/ 7103828 w 8551628"/>
              <a:gd name="connsiteY69" fmla="*/ 6172200 h 11404119"/>
              <a:gd name="connsiteX70" fmla="*/ 7103828 w 8551628"/>
              <a:gd name="connsiteY70" fmla="*/ 6343650 h 11404119"/>
              <a:gd name="connsiteX71" fmla="*/ 7027628 w 8551628"/>
              <a:gd name="connsiteY71" fmla="*/ 6572250 h 11404119"/>
              <a:gd name="connsiteX72" fmla="*/ 6932378 w 8551628"/>
              <a:gd name="connsiteY72" fmla="*/ 6819900 h 11404119"/>
              <a:gd name="connsiteX73" fmla="*/ 6875228 w 8551628"/>
              <a:gd name="connsiteY73" fmla="*/ 7048500 h 11404119"/>
              <a:gd name="connsiteX74" fmla="*/ 6875228 w 8551628"/>
              <a:gd name="connsiteY74" fmla="*/ 7296150 h 11404119"/>
              <a:gd name="connsiteX75" fmla="*/ 6818078 w 8551628"/>
              <a:gd name="connsiteY75" fmla="*/ 7962900 h 11404119"/>
              <a:gd name="connsiteX76" fmla="*/ 6532328 w 8551628"/>
              <a:gd name="connsiteY76" fmla="*/ 8477250 h 11404119"/>
              <a:gd name="connsiteX77" fmla="*/ 6170378 w 8551628"/>
              <a:gd name="connsiteY77" fmla="*/ 8953500 h 11404119"/>
              <a:gd name="connsiteX78" fmla="*/ 5979878 w 8551628"/>
              <a:gd name="connsiteY78" fmla="*/ 9315450 h 11404119"/>
              <a:gd name="connsiteX79" fmla="*/ 5675078 w 8551628"/>
              <a:gd name="connsiteY79" fmla="*/ 9886950 h 11404119"/>
              <a:gd name="connsiteX80" fmla="*/ 5122628 w 8551628"/>
              <a:gd name="connsiteY80" fmla="*/ 10687050 h 11404119"/>
              <a:gd name="connsiteX81" fmla="*/ 5008328 w 8551628"/>
              <a:gd name="connsiteY81" fmla="*/ 11258549 h 11404119"/>
              <a:gd name="connsiteX82" fmla="*/ 4173363 w 8551628"/>
              <a:gd name="connsiteY82" fmla="*/ 11404119 h 11404119"/>
              <a:gd name="connsiteX83" fmla="*/ 4284787 w 8551628"/>
              <a:gd name="connsiteY83" fmla="*/ 8045165 h 11404119"/>
              <a:gd name="connsiteX84" fmla="*/ 683978 w 8551628"/>
              <a:gd name="connsiteY84" fmla="*/ 11182349 h 11404119"/>
              <a:gd name="connsiteX85" fmla="*/ 417278 w 8551628"/>
              <a:gd name="connsiteY85" fmla="*/ 11353799 h 11404119"/>
              <a:gd name="connsiteX86" fmla="*/ 436329 w 8551628"/>
              <a:gd name="connsiteY86" fmla="*/ 9848849 h 11404119"/>
              <a:gd name="connsiteX87" fmla="*/ 17230 w 8551628"/>
              <a:gd name="connsiteY87" fmla="*/ 9791699 h 11404119"/>
              <a:gd name="connsiteX88" fmla="*/ 112480 w 8551628"/>
              <a:gd name="connsiteY88" fmla="*/ 7524749 h 11404119"/>
              <a:gd name="connsiteX89" fmla="*/ 988780 w 8551628"/>
              <a:gd name="connsiteY89" fmla="*/ 7524749 h 11404119"/>
              <a:gd name="connsiteX90" fmla="*/ 969730 w 8551628"/>
              <a:gd name="connsiteY90" fmla="*/ 8229599 h 11404119"/>
              <a:gd name="connsiteX91" fmla="*/ 867308 w 8551628"/>
              <a:gd name="connsiteY91" fmla="*/ 8139280 h 11404119"/>
              <a:gd name="connsiteX92" fmla="*/ 597919 w 8551628"/>
              <a:gd name="connsiteY92" fmla="*/ 8112386 h 11404119"/>
              <a:gd name="connsiteX93" fmla="*/ 390161 w 8551628"/>
              <a:gd name="connsiteY93" fmla="*/ 8306023 h 11404119"/>
              <a:gd name="connsiteX94" fmla="*/ 325168 w 8551628"/>
              <a:gd name="connsiteY94" fmla="*/ 9373496 h 11404119"/>
              <a:gd name="connsiteX95" fmla="*/ 459190 w 8551628"/>
              <a:gd name="connsiteY95" fmla="*/ 9577890 h 11404119"/>
              <a:gd name="connsiteX96" fmla="*/ 738888 w 8551628"/>
              <a:gd name="connsiteY96" fmla="*/ 9623387 h 11404119"/>
              <a:gd name="connsiteX97" fmla="*/ 986764 w 8551628"/>
              <a:gd name="connsiteY97" fmla="*/ 9469642 h 11404119"/>
              <a:gd name="connsiteX98" fmla="*/ 1051309 w 8551628"/>
              <a:gd name="connsiteY98" fmla="*/ 8393877 h 11404119"/>
              <a:gd name="connsiteX0" fmla="*/ 1045928 w 8551628"/>
              <a:gd name="connsiteY0" fmla="*/ 8362950 h 11404119"/>
              <a:gd name="connsiteX1" fmla="*/ 1045928 w 8551628"/>
              <a:gd name="connsiteY1" fmla="*/ 8362950 h 11404119"/>
              <a:gd name="connsiteX2" fmla="*/ 1002900 w 8551628"/>
              <a:gd name="connsiteY2" fmla="*/ 8237891 h 11404119"/>
              <a:gd name="connsiteX3" fmla="*/ 1007828 w 8551628"/>
              <a:gd name="connsiteY3" fmla="*/ 7524750 h 11404119"/>
              <a:gd name="connsiteX4" fmla="*/ 1941278 w 8551628"/>
              <a:gd name="connsiteY4" fmla="*/ 7562850 h 11404119"/>
              <a:gd name="connsiteX5" fmla="*/ 1979378 w 8551628"/>
              <a:gd name="connsiteY5" fmla="*/ 6705600 h 11404119"/>
              <a:gd name="connsiteX6" fmla="*/ 1560278 w 8551628"/>
              <a:gd name="connsiteY6" fmla="*/ 6705600 h 11404119"/>
              <a:gd name="connsiteX7" fmla="*/ 1579328 w 8551628"/>
              <a:gd name="connsiteY7" fmla="*/ 6496050 h 11404119"/>
              <a:gd name="connsiteX8" fmla="*/ 2265128 w 8551628"/>
              <a:gd name="connsiteY8" fmla="*/ 6572250 h 11404119"/>
              <a:gd name="connsiteX9" fmla="*/ 3636728 w 8551628"/>
              <a:gd name="connsiteY9" fmla="*/ 6629400 h 11404119"/>
              <a:gd name="connsiteX10" fmla="*/ 3598628 w 8551628"/>
              <a:gd name="connsiteY10" fmla="*/ 7448550 h 11404119"/>
              <a:gd name="connsiteX11" fmla="*/ 6303728 w 8551628"/>
              <a:gd name="connsiteY11" fmla="*/ 7620000 h 11404119"/>
              <a:gd name="connsiteX12" fmla="*/ 6875228 w 8551628"/>
              <a:gd name="connsiteY12" fmla="*/ 7181850 h 11404119"/>
              <a:gd name="connsiteX13" fmla="*/ 6894278 w 8551628"/>
              <a:gd name="connsiteY13" fmla="*/ 6915150 h 11404119"/>
              <a:gd name="connsiteX14" fmla="*/ 6970478 w 8551628"/>
              <a:gd name="connsiteY14" fmla="*/ 6686550 h 11404119"/>
              <a:gd name="connsiteX15" fmla="*/ 7065728 w 8551628"/>
              <a:gd name="connsiteY15" fmla="*/ 6515100 h 11404119"/>
              <a:gd name="connsiteX16" fmla="*/ 7084778 w 8551628"/>
              <a:gd name="connsiteY16" fmla="*/ 6172200 h 11404119"/>
              <a:gd name="connsiteX17" fmla="*/ 7065728 w 8551628"/>
              <a:gd name="connsiteY17" fmla="*/ 5695950 h 11404119"/>
              <a:gd name="connsiteX18" fmla="*/ 7103828 w 8551628"/>
              <a:gd name="connsiteY18" fmla="*/ 5391150 h 11404119"/>
              <a:gd name="connsiteX19" fmla="*/ 7275278 w 8551628"/>
              <a:gd name="connsiteY19" fmla="*/ 5219700 h 11404119"/>
              <a:gd name="connsiteX20" fmla="*/ 7465778 w 8551628"/>
              <a:gd name="connsiteY20" fmla="*/ 5067300 h 11404119"/>
              <a:gd name="connsiteX21" fmla="*/ 7561028 w 8551628"/>
              <a:gd name="connsiteY21" fmla="*/ 4933950 h 11404119"/>
              <a:gd name="connsiteX22" fmla="*/ 7503878 w 8551628"/>
              <a:gd name="connsiteY22" fmla="*/ 4781550 h 11404119"/>
              <a:gd name="connsiteX23" fmla="*/ 7351478 w 8551628"/>
              <a:gd name="connsiteY23" fmla="*/ 4648200 h 11404119"/>
              <a:gd name="connsiteX24" fmla="*/ 7351478 w 8551628"/>
              <a:gd name="connsiteY24" fmla="*/ 4648200 h 11404119"/>
              <a:gd name="connsiteX25" fmla="*/ 7351478 w 8551628"/>
              <a:gd name="connsiteY25" fmla="*/ 4210050 h 11404119"/>
              <a:gd name="connsiteX26" fmla="*/ 7618178 w 8551628"/>
              <a:gd name="connsiteY26" fmla="*/ 4210050 h 11404119"/>
              <a:gd name="connsiteX27" fmla="*/ 7694378 w 8551628"/>
              <a:gd name="connsiteY27" fmla="*/ 4438650 h 11404119"/>
              <a:gd name="connsiteX28" fmla="*/ 7732478 w 8551628"/>
              <a:gd name="connsiteY28" fmla="*/ 4629150 h 11404119"/>
              <a:gd name="connsiteX29" fmla="*/ 7789628 w 8551628"/>
              <a:gd name="connsiteY29" fmla="*/ 4895850 h 11404119"/>
              <a:gd name="connsiteX30" fmla="*/ 7732478 w 8551628"/>
              <a:gd name="connsiteY30" fmla="*/ 5067300 h 11404119"/>
              <a:gd name="connsiteX31" fmla="*/ 7999178 w 8551628"/>
              <a:gd name="connsiteY31" fmla="*/ 5314950 h 11404119"/>
              <a:gd name="connsiteX32" fmla="*/ 8551628 w 8551628"/>
              <a:gd name="connsiteY32" fmla="*/ 5467350 h 11404119"/>
              <a:gd name="connsiteX33" fmla="*/ 8265878 w 8551628"/>
              <a:gd name="connsiteY33" fmla="*/ 19050 h 11404119"/>
              <a:gd name="connsiteX34" fmla="*/ 7618178 w 8551628"/>
              <a:gd name="connsiteY34" fmla="*/ 0 h 11404119"/>
              <a:gd name="connsiteX35" fmla="*/ 7180028 w 8551628"/>
              <a:gd name="connsiteY35" fmla="*/ 0 h 11404119"/>
              <a:gd name="connsiteX36" fmla="*/ 6151328 w 8551628"/>
              <a:gd name="connsiteY36" fmla="*/ 190500 h 11404119"/>
              <a:gd name="connsiteX37" fmla="*/ 5446478 w 8551628"/>
              <a:gd name="connsiteY37" fmla="*/ 209550 h 11404119"/>
              <a:gd name="connsiteX38" fmla="*/ 5484578 w 8551628"/>
              <a:gd name="connsiteY38" fmla="*/ 266700 h 11404119"/>
              <a:gd name="connsiteX39" fmla="*/ 5294078 w 8551628"/>
              <a:gd name="connsiteY39" fmla="*/ 285750 h 11404119"/>
              <a:gd name="connsiteX40" fmla="*/ 5313128 w 8551628"/>
              <a:gd name="connsiteY40" fmla="*/ 400050 h 11404119"/>
              <a:gd name="connsiteX41" fmla="*/ 6246578 w 8551628"/>
              <a:gd name="connsiteY41" fmla="*/ 381000 h 11404119"/>
              <a:gd name="connsiteX42" fmla="*/ 6456128 w 8551628"/>
              <a:gd name="connsiteY42" fmla="*/ 457200 h 11404119"/>
              <a:gd name="connsiteX43" fmla="*/ 6646628 w 8551628"/>
              <a:gd name="connsiteY43" fmla="*/ 876300 h 11404119"/>
              <a:gd name="connsiteX44" fmla="*/ 6818078 w 8551628"/>
              <a:gd name="connsiteY44" fmla="*/ 1581150 h 11404119"/>
              <a:gd name="connsiteX45" fmla="*/ 6932378 w 8551628"/>
              <a:gd name="connsiteY45" fmla="*/ 1733550 h 11404119"/>
              <a:gd name="connsiteX46" fmla="*/ 7084778 w 8551628"/>
              <a:gd name="connsiteY46" fmla="*/ 2019300 h 11404119"/>
              <a:gd name="connsiteX47" fmla="*/ 7332428 w 8551628"/>
              <a:gd name="connsiteY47" fmla="*/ 2057400 h 11404119"/>
              <a:gd name="connsiteX48" fmla="*/ 7275278 w 8551628"/>
              <a:gd name="connsiteY48" fmla="*/ 2209800 h 11404119"/>
              <a:gd name="connsiteX49" fmla="*/ 7275278 w 8551628"/>
              <a:gd name="connsiteY49" fmla="*/ 2209800 h 11404119"/>
              <a:gd name="connsiteX50" fmla="*/ 7370528 w 8551628"/>
              <a:gd name="connsiteY50" fmla="*/ 2495550 h 11404119"/>
              <a:gd name="connsiteX51" fmla="*/ 7484828 w 8551628"/>
              <a:gd name="connsiteY51" fmla="*/ 2609850 h 11404119"/>
              <a:gd name="connsiteX52" fmla="*/ 7618178 w 8551628"/>
              <a:gd name="connsiteY52" fmla="*/ 2762250 h 11404119"/>
              <a:gd name="connsiteX53" fmla="*/ 7675328 w 8551628"/>
              <a:gd name="connsiteY53" fmla="*/ 2914650 h 11404119"/>
              <a:gd name="connsiteX54" fmla="*/ 7618178 w 8551628"/>
              <a:gd name="connsiteY54" fmla="*/ 3124200 h 11404119"/>
              <a:gd name="connsiteX55" fmla="*/ 7389578 w 8551628"/>
              <a:gd name="connsiteY55" fmla="*/ 3333750 h 11404119"/>
              <a:gd name="connsiteX56" fmla="*/ 7294328 w 8551628"/>
              <a:gd name="connsiteY56" fmla="*/ 3505200 h 11404119"/>
              <a:gd name="connsiteX57" fmla="*/ 7313378 w 8551628"/>
              <a:gd name="connsiteY57" fmla="*/ 3676650 h 11404119"/>
              <a:gd name="connsiteX58" fmla="*/ 7484828 w 8551628"/>
              <a:gd name="connsiteY58" fmla="*/ 3867150 h 11404119"/>
              <a:gd name="connsiteX59" fmla="*/ 7580078 w 8551628"/>
              <a:gd name="connsiteY59" fmla="*/ 3981450 h 11404119"/>
              <a:gd name="connsiteX60" fmla="*/ 7599128 w 8551628"/>
              <a:gd name="connsiteY60" fmla="*/ 4191000 h 11404119"/>
              <a:gd name="connsiteX61" fmla="*/ 7351478 w 8551628"/>
              <a:gd name="connsiteY61" fmla="*/ 4210050 h 11404119"/>
              <a:gd name="connsiteX62" fmla="*/ 7313378 w 8551628"/>
              <a:gd name="connsiteY62" fmla="*/ 4629150 h 11404119"/>
              <a:gd name="connsiteX63" fmla="*/ 7313378 w 8551628"/>
              <a:gd name="connsiteY63" fmla="*/ 4629150 h 11404119"/>
              <a:gd name="connsiteX64" fmla="*/ 7522928 w 8551628"/>
              <a:gd name="connsiteY64" fmla="*/ 4857750 h 11404119"/>
              <a:gd name="connsiteX65" fmla="*/ 7561028 w 8551628"/>
              <a:gd name="connsiteY65" fmla="*/ 4933950 h 11404119"/>
              <a:gd name="connsiteX66" fmla="*/ 7427678 w 8551628"/>
              <a:gd name="connsiteY66" fmla="*/ 5124450 h 11404119"/>
              <a:gd name="connsiteX67" fmla="*/ 7199078 w 8551628"/>
              <a:gd name="connsiteY67" fmla="*/ 5257800 h 11404119"/>
              <a:gd name="connsiteX68" fmla="*/ 7103828 w 8551628"/>
              <a:gd name="connsiteY68" fmla="*/ 5391150 h 11404119"/>
              <a:gd name="connsiteX69" fmla="*/ 7103828 w 8551628"/>
              <a:gd name="connsiteY69" fmla="*/ 6172200 h 11404119"/>
              <a:gd name="connsiteX70" fmla="*/ 7103828 w 8551628"/>
              <a:gd name="connsiteY70" fmla="*/ 6343650 h 11404119"/>
              <a:gd name="connsiteX71" fmla="*/ 7027628 w 8551628"/>
              <a:gd name="connsiteY71" fmla="*/ 6572250 h 11404119"/>
              <a:gd name="connsiteX72" fmla="*/ 6932378 w 8551628"/>
              <a:gd name="connsiteY72" fmla="*/ 6819900 h 11404119"/>
              <a:gd name="connsiteX73" fmla="*/ 6875228 w 8551628"/>
              <a:gd name="connsiteY73" fmla="*/ 7048500 h 11404119"/>
              <a:gd name="connsiteX74" fmla="*/ 6875228 w 8551628"/>
              <a:gd name="connsiteY74" fmla="*/ 7296150 h 11404119"/>
              <a:gd name="connsiteX75" fmla="*/ 6818078 w 8551628"/>
              <a:gd name="connsiteY75" fmla="*/ 7962900 h 11404119"/>
              <a:gd name="connsiteX76" fmla="*/ 6532328 w 8551628"/>
              <a:gd name="connsiteY76" fmla="*/ 8477250 h 11404119"/>
              <a:gd name="connsiteX77" fmla="*/ 6170378 w 8551628"/>
              <a:gd name="connsiteY77" fmla="*/ 8953500 h 11404119"/>
              <a:gd name="connsiteX78" fmla="*/ 5979878 w 8551628"/>
              <a:gd name="connsiteY78" fmla="*/ 9315450 h 11404119"/>
              <a:gd name="connsiteX79" fmla="*/ 5675078 w 8551628"/>
              <a:gd name="connsiteY79" fmla="*/ 9886950 h 11404119"/>
              <a:gd name="connsiteX80" fmla="*/ 5122628 w 8551628"/>
              <a:gd name="connsiteY80" fmla="*/ 10687050 h 11404119"/>
              <a:gd name="connsiteX81" fmla="*/ 5008328 w 8551628"/>
              <a:gd name="connsiteY81" fmla="*/ 11258549 h 11404119"/>
              <a:gd name="connsiteX82" fmla="*/ 4173363 w 8551628"/>
              <a:gd name="connsiteY82" fmla="*/ 11404119 h 11404119"/>
              <a:gd name="connsiteX83" fmla="*/ 4284787 w 8551628"/>
              <a:gd name="connsiteY83" fmla="*/ 8045165 h 11404119"/>
              <a:gd name="connsiteX84" fmla="*/ 2698895 w 8551628"/>
              <a:gd name="connsiteY84" fmla="*/ 7921258 h 11404119"/>
              <a:gd name="connsiteX85" fmla="*/ 417278 w 8551628"/>
              <a:gd name="connsiteY85" fmla="*/ 11353799 h 11404119"/>
              <a:gd name="connsiteX86" fmla="*/ 436329 w 8551628"/>
              <a:gd name="connsiteY86" fmla="*/ 9848849 h 11404119"/>
              <a:gd name="connsiteX87" fmla="*/ 17230 w 8551628"/>
              <a:gd name="connsiteY87" fmla="*/ 9791699 h 11404119"/>
              <a:gd name="connsiteX88" fmla="*/ 112480 w 8551628"/>
              <a:gd name="connsiteY88" fmla="*/ 7524749 h 11404119"/>
              <a:gd name="connsiteX89" fmla="*/ 988780 w 8551628"/>
              <a:gd name="connsiteY89" fmla="*/ 7524749 h 11404119"/>
              <a:gd name="connsiteX90" fmla="*/ 969730 w 8551628"/>
              <a:gd name="connsiteY90" fmla="*/ 8229599 h 11404119"/>
              <a:gd name="connsiteX91" fmla="*/ 867308 w 8551628"/>
              <a:gd name="connsiteY91" fmla="*/ 8139280 h 11404119"/>
              <a:gd name="connsiteX92" fmla="*/ 597919 w 8551628"/>
              <a:gd name="connsiteY92" fmla="*/ 8112386 h 11404119"/>
              <a:gd name="connsiteX93" fmla="*/ 390161 w 8551628"/>
              <a:gd name="connsiteY93" fmla="*/ 8306023 h 11404119"/>
              <a:gd name="connsiteX94" fmla="*/ 325168 w 8551628"/>
              <a:gd name="connsiteY94" fmla="*/ 9373496 h 11404119"/>
              <a:gd name="connsiteX95" fmla="*/ 459190 w 8551628"/>
              <a:gd name="connsiteY95" fmla="*/ 9577890 h 11404119"/>
              <a:gd name="connsiteX96" fmla="*/ 738888 w 8551628"/>
              <a:gd name="connsiteY96" fmla="*/ 9623387 h 11404119"/>
              <a:gd name="connsiteX97" fmla="*/ 986764 w 8551628"/>
              <a:gd name="connsiteY97" fmla="*/ 9469642 h 11404119"/>
              <a:gd name="connsiteX98" fmla="*/ 1051309 w 8551628"/>
              <a:gd name="connsiteY98" fmla="*/ 8393877 h 11404119"/>
              <a:gd name="connsiteX0" fmla="*/ 1045928 w 8551628"/>
              <a:gd name="connsiteY0" fmla="*/ 8362950 h 11404119"/>
              <a:gd name="connsiteX1" fmla="*/ 1045928 w 8551628"/>
              <a:gd name="connsiteY1" fmla="*/ 8362950 h 11404119"/>
              <a:gd name="connsiteX2" fmla="*/ 1002900 w 8551628"/>
              <a:gd name="connsiteY2" fmla="*/ 8237891 h 11404119"/>
              <a:gd name="connsiteX3" fmla="*/ 1007828 w 8551628"/>
              <a:gd name="connsiteY3" fmla="*/ 7524750 h 11404119"/>
              <a:gd name="connsiteX4" fmla="*/ 1941278 w 8551628"/>
              <a:gd name="connsiteY4" fmla="*/ 7562850 h 11404119"/>
              <a:gd name="connsiteX5" fmla="*/ 1979378 w 8551628"/>
              <a:gd name="connsiteY5" fmla="*/ 6705600 h 11404119"/>
              <a:gd name="connsiteX6" fmla="*/ 1560278 w 8551628"/>
              <a:gd name="connsiteY6" fmla="*/ 6705600 h 11404119"/>
              <a:gd name="connsiteX7" fmla="*/ 1579328 w 8551628"/>
              <a:gd name="connsiteY7" fmla="*/ 6496050 h 11404119"/>
              <a:gd name="connsiteX8" fmla="*/ 2265128 w 8551628"/>
              <a:gd name="connsiteY8" fmla="*/ 6572250 h 11404119"/>
              <a:gd name="connsiteX9" fmla="*/ 3636728 w 8551628"/>
              <a:gd name="connsiteY9" fmla="*/ 6629400 h 11404119"/>
              <a:gd name="connsiteX10" fmla="*/ 3598628 w 8551628"/>
              <a:gd name="connsiteY10" fmla="*/ 7448550 h 11404119"/>
              <a:gd name="connsiteX11" fmla="*/ 6303728 w 8551628"/>
              <a:gd name="connsiteY11" fmla="*/ 7620000 h 11404119"/>
              <a:gd name="connsiteX12" fmla="*/ 6875228 w 8551628"/>
              <a:gd name="connsiteY12" fmla="*/ 7181850 h 11404119"/>
              <a:gd name="connsiteX13" fmla="*/ 6894278 w 8551628"/>
              <a:gd name="connsiteY13" fmla="*/ 6915150 h 11404119"/>
              <a:gd name="connsiteX14" fmla="*/ 6970478 w 8551628"/>
              <a:gd name="connsiteY14" fmla="*/ 6686550 h 11404119"/>
              <a:gd name="connsiteX15" fmla="*/ 7065728 w 8551628"/>
              <a:gd name="connsiteY15" fmla="*/ 6515100 h 11404119"/>
              <a:gd name="connsiteX16" fmla="*/ 7084778 w 8551628"/>
              <a:gd name="connsiteY16" fmla="*/ 6172200 h 11404119"/>
              <a:gd name="connsiteX17" fmla="*/ 7065728 w 8551628"/>
              <a:gd name="connsiteY17" fmla="*/ 5695950 h 11404119"/>
              <a:gd name="connsiteX18" fmla="*/ 7103828 w 8551628"/>
              <a:gd name="connsiteY18" fmla="*/ 5391150 h 11404119"/>
              <a:gd name="connsiteX19" fmla="*/ 7275278 w 8551628"/>
              <a:gd name="connsiteY19" fmla="*/ 5219700 h 11404119"/>
              <a:gd name="connsiteX20" fmla="*/ 7465778 w 8551628"/>
              <a:gd name="connsiteY20" fmla="*/ 5067300 h 11404119"/>
              <a:gd name="connsiteX21" fmla="*/ 7561028 w 8551628"/>
              <a:gd name="connsiteY21" fmla="*/ 4933950 h 11404119"/>
              <a:gd name="connsiteX22" fmla="*/ 7503878 w 8551628"/>
              <a:gd name="connsiteY22" fmla="*/ 4781550 h 11404119"/>
              <a:gd name="connsiteX23" fmla="*/ 7351478 w 8551628"/>
              <a:gd name="connsiteY23" fmla="*/ 4648200 h 11404119"/>
              <a:gd name="connsiteX24" fmla="*/ 7351478 w 8551628"/>
              <a:gd name="connsiteY24" fmla="*/ 4648200 h 11404119"/>
              <a:gd name="connsiteX25" fmla="*/ 7351478 w 8551628"/>
              <a:gd name="connsiteY25" fmla="*/ 4210050 h 11404119"/>
              <a:gd name="connsiteX26" fmla="*/ 7618178 w 8551628"/>
              <a:gd name="connsiteY26" fmla="*/ 4210050 h 11404119"/>
              <a:gd name="connsiteX27" fmla="*/ 7694378 w 8551628"/>
              <a:gd name="connsiteY27" fmla="*/ 4438650 h 11404119"/>
              <a:gd name="connsiteX28" fmla="*/ 7732478 w 8551628"/>
              <a:gd name="connsiteY28" fmla="*/ 4629150 h 11404119"/>
              <a:gd name="connsiteX29" fmla="*/ 7789628 w 8551628"/>
              <a:gd name="connsiteY29" fmla="*/ 4895850 h 11404119"/>
              <a:gd name="connsiteX30" fmla="*/ 7732478 w 8551628"/>
              <a:gd name="connsiteY30" fmla="*/ 5067300 h 11404119"/>
              <a:gd name="connsiteX31" fmla="*/ 7999178 w 8551628"/>
              <a:gd name="connsiteY31" fmla="*/ 5314950 h 11404119"/>
              <a:gd name="connsiteX32" fmla="*/ 8551628 w 8551628"/>
              <a:gd name="connsiteY32" fmla="*/ 5467350 h 11404119"/>
              <a:gd name="connsiteX33" fmla="*/ 8265878 w 8551628"/>
              <a:gd name="connsiteY33" fmla="*/ 19050 h 11404119"/>
              <a:gd name="connsiteX34" fmla="*/ 7618178 w 8551628"/>
              <a:gd name="connsiteY34" fmla="*/ 0 h 11404119"/>
              <a:gd name="connsiteX35" fmla="*/ 7180028 w 8551628"/>
              <a:gd name="connsiteY35" fmla="*/ 0 h 11404119"/>
              <a:gd name="connsiteX36" fmla="*/ 6151328 w 8551628"/>
              <a:gd name="connsiteY36" fmla="*/ 190500 h 11404119"/>
              <a:gd name="connsiteX37" fmla="*/ 5446478 w 8551628"/>
              <a:gd name="connsiteY37" fmla="*/ 209550 h 11404119"/>
              <a:gd name="connsiteX38" fmla="*/ 5484578 w 8551628"/>
              <a:gd name="connsiteY38" fmla="*/ 266700 h 11404119"/>
              <a:gd name="connsiteX39" fmla="*/ 5294078 w 8551628"/>
              <a:gd name="connsiteY39" fmla="*/ 285750 h 11404119"/>
              <a:gd name="connsiteX40" fmla="*/ 5313128 w 8551628"/>
              <a:gd name="connsiteY40" fmla="*/ 400050 h 11404119"/>
              <a:gd name="connsiteX41" fmla="*/ 6246578 w 8551628"/>
              <a:gd name="connsiteY41" fmla="*/ 381000 h 11404119"/>
              <a:gd name="connsiteX42" fmla="*/ 6456128 w 8551628"/>
              <a:gd name="connsiteY42" fmla="*/ 457200 h 11404119"/>
              <a:gd name="connsiteX43" fmla="*/ 6646628 w 8551628"/>
              <a:gd name="connsiteY43" fmla="*/ 876300 h 11404119"/>
              <a:gd name="connsiteX44" fmla="*/ 6818078 w 8551628"/>
              <a:gd name="connsiteY44" fmla="*/ 1581150 h 11404119"/>
              <a:gd name="connsiteX45" fmla="*/ 6932378 w 8551628"/>
              <a:gd name="connsiteY45" fmla="*/ 1733550 h 11404119"/>
              <a:gd name="connsiteX46" fmla="*/ 7084778 w 8551628"/>
              <a:gd name="connsiteY46" fmla="*/ 2019300 h 11404119"/>
              <a:gd name="connsiteX47" fmla="*/ 7332428 w 8551628"/>
              <a:gd name="connsiteY47" fmla="*/ 2057400 h 11404119"/>
              <a:gd name="connsiteX48" fmla="*/ 7275278 w 8551628"/>
              <a:gd name="connsiteY48" fmla="*/ 2209800 h 11404119"/>
              <a:gd name="connsiteX49" fmla="*/ 7275278 w 8551628"/>
              <a:gd name="connsiteY49" fmla="*/ 2209800 h 11404119"/>
              <a:gd name="connsiteX50" fmla="*/ 7370528 w 8551628"/>
              <a:gd name="connsiteY50" fmla="*/ 2495550 h 11404119"/>
              <a:gd name="connsiteX51" fmla="*/ 7484828 w 8551628"/>
              <a:gd name="connsiteY51" fmla="*/ 2609850 h 11404119"/>
              <a:gd name="connsiteX52" fmla="*/ 7618178 w 8551628"/>
              <a:gd name="connsiteY52" fmla="*/ 2762250 h 11404119"/>
              <a:gd name="connsiteX53" fmla="*/ 7675328 w 8551628"/>
              <a:gd name="connsiteY53" fmla="*/ 2914650 h 11404119"/>
              <a:gd name="connsiteX54" fmla="*/ 7618178 w 8551628"/>
              <a:gd name="connsiteY54" fmla="*/ 3124200 h 11404119"/>
              <a:gd name="connsiteX55" fmla="*/ 7389578 w 8551628"/>
              <a:gd name="connsiteY55" fmla="*/ 3333750 h 11404119"/>
              <a:gd name="connsiteX56" fmla="*/ 7294328 w 8551628"/>
              <a:gd name="connsiteY56" fmla="*/ 3505200 h 11404119"/>
              <a:gd name="connsiteX57" fmla="*/ 7313378 w 8551628"/>
              <a:gd name="connsiteY57" fmla="*/ 3676650 h 11404119"/>
              <a:gd name="connsiteX58" fmla="*/ 7484828 w 8551628"/>
              <a:gd name="connsiteY58" fmla="*/ 3867150 h 11404119"/>
              <a:gd name="connsiteX59" fmla="*/ 7580078 w 8551628"/>
              <a:gd name="connsiteY59" fmla="*/ 3981450 h 11404119"/>
              <a:gd name="connsiteX60" fmla="*/ 7599128 w 8551628"/>
              <a:gd name="connsiteY60" fmla="*/ 4191000 h 11404119"/>
              <a:gd name="connsiteX61" fmla="*/ 7351478 w 8551628"/>
              <a:gd name="connsiteY61" fmla="*/ 4210050 h 11404119"/>
              <a:gd name="connsiteX62" fmla="*/ 7313378 w 8551628"/>
              <a:gd name="connsiteY62" fmla="*/ 4629150 h 11404119"/>
              <a:gd name="connsiteX63" fmla="*/ 7313378 w 8551628"/>
              <a:gd name="connsiteY63" fmla="*/ 4629150 h 11404119"/>
              <a:gd name="connsiteX64" fmla="*/ 7522928 w 8551628"/>
              <a:gd name="connsiteY64" fmla="*/ 4857750 h 11404119"/>
              <a:gd name="connsiteX65" fmla="*/ 7561028 w 8551628"/>
              <a:gd name="connsiteY65" fmla="*/ 4933950 h 11404119"/>
              <a:gd name="connsiteX66" fmla="*/ 7427678 w 8551628"/>
              <a:gd name="connsiteY66" fmla="*/ 5124450 h 11404119"/>
              <a:gd name="connsiteX67" fmla="*/ 7199078 w 8551628"/>
              <a:gd name="connsiteY67" fmla="*/ 5257800 h 11404119"/>
              <a:gd name="connsiteX68" fmla="*/ 7103828 w 8551628"/>
              <a:gd name="connsiteY68" fmla="*/ 5391150 h 11404119"/>
              <a:gd name="connsiteX69" fmla="*/ 7103828 w 8551628"/>
              <a:gd name="connsiteY69" fmla="*/ 6172200 h 11404119"/>
              <a:gd name="connsiteX70" fmla="*/ 7103828 w 8551628"/>
              <a:gd name="connsiteY70" fmla="*/ 6343650 h 11404119"/>
              <a:gd name="connsiteX71" fmla="*/ 7027628 w 8551628"/>
              <a:gd name="connsiteY71" fmla="*/ 6572250 h 11404119"/>
              <a:gd name="connsiteX72" fmla="*/ 6932378 w 8551628"/>
              <a:gd name="connsiteY72" fmla="*/ 6819900 h 11404119"/>
              <a:gd name="connsiteX73" fmla="*/ 6875228 w 8551628"/>
              <a:gd name="connsiteY73" fmla="*/ 7048500 h 11404119"/>
              <a:gd name="connsiteX74" fmla="*/ 6875228 w 8551628"/>
              <a:gd name="connsiteY74" fmla="*/ 7296150 h 11404119"/>
              <a:gd name="connsiteX75" fmla="*/ 6818078 w 8551628"/>
              <a:gd name="connsiteY75" fmla="*/ 7962900 h 11404119"/>
              <a:gd name="connsiteX76" fmla="*/ 6532328 w 8551628"/>
              <a:gd name="connsiteY76" fmla="*/ 8477250 h 11404119"/>
              <a:gd name="connsiteX77" fmla="*/ 6170378 w 8551628"/>
              <a:gd name="connsiteY77" fmla="*/ 8953500 h 11404119"/>
              <a:gd name="connsiteX78" fmla="*/ 5979878 w 8551628"/>
              <a:gd name="connsiteY78" fmla="*/ 9315450 h 11404119"/>
              <a:gd name="connsiteX79" fmla="*/ 5675078 w 8551628"/>
              <a:gd name="connsiteY79" fmla="*/ 9886950 h 11404119"/>
              <a:gd name="connsiteX80" fmla="*/ 5122628 w 8551628"/>
              <a:gd name="connsiteY80" fmla="*/ 10687050 h 11404119"/>
              <a:gd name="connsiteX81" fmla="*/ 5008328 w 8551628"/>
              <a:gd name="connsiteY81" fmla="*/ 11258549 h 11404119"/>
              <a:gd name="connsiteX82" fmla="*/ 4173363 w 8551628"/>
              <a:gd name="connsiteY82" fmla="*/ 11404119 h 11404119"/>
              <a:gd name="connsiteX83" fmla="*/ 4284787 w 8551628"/>
              <a:gd name="connsiteY83" fmla="*/ 8045165 h 11404119"/>
              <a:gd name="connsiteX84" fmla="*/ 2698895 w 8551628"/>
              <a:gd name="connsiteY84" fmla="*/ 7921258 h 11404119"/>
              <a:gd name="connsiteX85" fmla="*/ 2683048 w 8551628"/>
              <a:gd name="connsiteY85" fmla="*/ 7194492 h 11404119"/>
              <a:gd name="connsiteX86" fmla="*/ 436329 w 8551628"/>
              <a:gd name="connsiteY86" fmla="*/ 9848849 h 11404119"/>
              <a:gd name="connsiteX87" fmla="*/ 17230 w 8551628"/>
              <a:gd name="connsiteY87" fmla="*/ 9791699 h 11404119"/>
              <a:gd name="connsiteX88" fmla="*/ 112480 w 8551628"/>
              <a:gd name="connsiteY88" fmla="*/ 7524749 h 11404119"/>
              <a:gd name="connsiteX89" fmla="*/ 988780 w 8551628"/>
              <a:gd name="connsiteY89" fmla="*/ 7524749 h 11404119"/>
              <a:gd name="connsiteX90" fmla="*/ 969730 w 8551628"/>
              <a:gd name="connsiteY90" fmla="*/ 8229599 h 11404119"/>
              <a:gd name="connsiteX91" fmla="*/ 867308 w 8551628"/>
              <a:gd name="connsiteY91" fmla="*/ 8139280 h 11404119"/>
              <a:gd name="connsiteX92" fmla="*/ 597919 w 8551628"/>
              <a:gd name="connsiteY92" fmla="*/ 8112386 h 11404119"/>
              <a:gd name="connsiteX93" fmla="*/ 390161 w 8551628"/>
              <a:gd name="connsiteY93" fmla="*/ 8306023 h 11404119"/>
              <a:gd name="connsiteX94" fmla="*/ 325168 w 8551628"/>
              <a:gd name="connsiteY94" fmla="*/ 9373496 h 11404119"/>
              <a:gd name="connsiteX95" fmla="*/ 459190 w 8551628"/>
              <a:gd name="connsiteY95" fmla="*/ 9577890 h 11404119"/>
              <a:gd name="connsiteX96" fmla="*/ 738888 w 8551628"/>
              <a:gd name="connsiteY96" fmla="*/ 9623387 h 11404119"/>
              <a:gd name="connsiteX97" fmla="*/ 986764 w 8551628"/>
              <a:gd name="connsiteY97" fmla="*/ 9469642 h 11404119"/>
              <a:gd name="connsiteX98" fmla="*/ 1051309 w 8551628"/>
              <a:gd name="connsiteY98" fmla="*/ 8393877 h 11404119"/>
              <a:gd name="connsiteX0" fmla="*/ 1045928 w 8551628"/>
              <a:gd name="connsiteY0" fmla="*/ 8362950 h 11404119"/>
              <a:gd name="connsiteX1" fmla="*/ 1045928 w 8551628"/>
              <a:gd name="connsiteY1" fmla="*/ 8362950 h 11404119"/>
              <a:gd name="connsiteX2" fmla="*/ 1002900 w 8551628"/>
              <a:gd name="connsiteY2" fmla="*/ 8237891 h 11404119"/>
              <a:gd name="connsiteX3" fmla="*/ 1007828 w 8551628"/>
              <a:gd name="connsiteY3" fmla="*/ 7524750 h 11404119"/>
              <a:gd name="connsiteX4" fmla="*/ 1941278 w 8551628"/>
              <a:gd name="connsiteY4" fmla="*/ 7562850 h 11404119"/>
              <a:gd name="connsiteX5" fmla="*/ 1979378 w 8551628"/>
              <a:gd name="connsiteY5" fmla="*/ 6705600 h 11404119"/>
              <a:gd name="connsiteX6" fmla="*/ 1560278 w 8551628"/>
              <a:gd name="connsiteY6" fmla="*/ 6705600 h 11404119"/>
              <a:gd name="connsiteX7" fmla="*/ 1579328 w 8551628"/>
              <a:gd name="connsiteY7" fmla="*/ 6496050 h 11404119"/>
              <a:gd name="connsiteX8" fmla="*/ 2265128 w 8551628"/>
              <a:gd name="connsiteY8" fmla="*/ 6572250 h 11404119"/>
              <a:gd name="connsiteX9" fmla="*/ 3636728 w 8551628"/>
              <a:gd name="connsiteY9" fmla="*/ 6629400 h 11404119"/>
              <a:gd name="connsiteX10" fmla="*/ 3598628 w 8551628"/>
              <a:gd name="connsiteY10" fmla="*/ 7448550 h 11404119"/>
              <a:gd name="connsiteX11" fmla="*/ 6303728 w 8551628"/>
              <a:gd name="connsiteY11" fmla="*/ 7620000 h 11404119"/>
              <a:gd name="connsiteX12" fmla="*/ 6875228 w 8551628"/>
              <a:gd name="connsiteY12" fmla="*/ 7181850 h 11404119"/>
              <a:gd name="connsiteX13" fmla="*/ 6894278 w 8551628"/>
              <a:gd name="connsiteY13" fmla="*/ 6915150 h 11404119"/>
              <a:gd name="connsiteX14" fmla="*/ 6970478 w 8551628"/>
              <a:gd name="connsiteY14" fmla="*/ 6686550 h 11404119"/>
              <a:gd name="connsiteX15" fmla="*/ 7065728 w 8551628"/>
              <a:gd name="connsiteY15" fmla="*/ 6515100 h 11404119"/>
              <a:gd name="connsiteX16" fmla="*/ 7084778 w 8551628"/>
              <a:gd name="connsiteY16" fmla="*/ 6172200 h 11404119"/>
              <a:gd name="connsiteX17" fmla="*/ 7065728 w 8551628"/>
              <a:gd name="connsiteY17" fmla="*/ 5695950 h 11404119"/>
              <a:gd name="connsiteX18" fmla="*/ 7103828 w 8551628"/>
              <a:gd name="connsiteY18" fmla="*/ 5391150 h 11404119"/>
              <a:gd name="connsiteX19" fmla="*/ 7275278 w 8551628"/>
              <a:gd name="connsiteY19" fmla="*/ 5219700 h 11404119"/>
              <a:gd name="connsiteX20" fmla="*/ 7465778 w 8551628"/>
              <a:gd name="connsiteY20" fmla="*/ 5067300 h 11404119"/>
              <a:gd name="connsiteX21" fmla="*/ 7561028 w 8551628"/>
              <a:gd name="connsiteY21" fmla="*/ 4933950 h 11404119"/>
              <a:gd name="connsiteX22" fmla="*/ 7503878 w 8551628"/>
              <a:gd name="connsiteY22" fmla="*/ 4781550 h 11404119"/>
              <a:gd name="connsiteX23" fmla="*/ 7351478 w 8551628"/>
              <a:gd name="connsiteY23" fmla="*/ 4648200 h 11404119"/>
              <a:gd name="connsiteX24" fmla="*/ 7351478 w 8551628"/>
              <a:gd name="connsiteY24" fmla="*/ 4648200 h 11404119"/>
              <a:gd name="connsiteX25" fmla="*/ 7351478 w 8551628"/>
              <a:gd name="connsiteY25" fmla="*/ 4210050 h 11404119"/>
              <a:gd name="connsiteX26" fmla="*/ 7618178 w 8551628"/>
              <a:gd name="connsiteY26" fmla="*/ 4210050 h 11404119"/>
              <a:gd name="connsiteX27" fmla="*/ 7694378 w 8551628"/>
              <a:gd name="connsiteY27" fmla="*/ 4438650 h 11404119"/>
              <a:gd name="connsiteX28" fmla="*/ 7732478 w 8551628"/>
              <a:gd name="connsiteY28" fmla="*/ 4629150 h 11404119"/>
              <a:gd name="connsiteX29" fmla="*/ 7789628 w 8551628"/>
              <a:gd name="connsiteY29" fmla="*/ 4895850 h 11404119"/>
              <a:gd name="connsiteX30" fmla="*/ 7732478 w 8551628"/>
              <a:gd name="connsiteY30" fmla="*/ 5067300 h 11404119"/>
              <a:gd name="connsiteX31" fmla="*/ 7999178 w 8551628"/>
              <a:gd name="connsiteY31" fmla="*/ 5314950 h 11404119"/>
              <a:gd name="connsiteX32" fmla="*/ 8551628 w 8551628"/>
              <a:gd name="connsiteY32" fmla="*/ 5467350 h 11404119"/>
              <a:gd name="connsiteX33" fmla="*/ 8265878 w 8551628"/>
              <a:gd name="connsiteY33" fmla="*/ 19050 h 11404119"/>
              <a:gd name="connsiteX34" fmla="*/ 7618178 w 8551628"/>
              <a:gd name="connsiteY34" fmla="*/ 0 h 11404119"/>
              <a:gd name="connsiteX35" fmla="*/ 7180028 w 8551628"/>
              <a:gd name="connsiteY35" fmla="*/ 0 h 11404119"/>
              <a:gd name="connsiteX36" fmla="*/ 6151328 w 8551628"/>
              <a:gd name="connsiteY36" fmla="*/ 190500 h 11404119"/>
              <a:gd name="connsiteX37" fmla="*/ 5446478 w 8551628"/>
              <a:gd name="connsiteY37" fmla="*/ 209550 h 11404119"/>
              <a:gd name="connsiteX38" fmla="*/ 5484578 w 8551628"/>
              <a:gd name="connsiteY38" fmla="*/ 266700 h 11404119"/>
              <a:gd name="connsiteX39" fmla="*/ 5294078 w 8551628"/>
              <a:gd name="connsiteY39" fmla="*/ 285750 h 11404119"/>
              <a:gd name="connsiteX40" fmla="*/ 5313128 w 8551628"/>
              <a:gd name="connsiteY40" fmla="*/ 400050 h 11404119"/>
              <a:gd name="connsiteX41" fmla="*/ 6246578 w 8551628"/>
              <a:gd name="connsiteY41" fmla="*/ 381000 h 11404119"/>
              <a:gd name="connsiteX42" fmla="*/ 6456128 w 8551628"/>
              <a:gd name="connsiteY42" fmla="*/ 457200 h 11404119"/>
              <a:gd name="connsiteX43" fmla="*/ 6646628 w 8551628"/>
              <a:gd name="connsiteY43" fmla="*/ 876300 h 11404119"/>
              <a:gd name="connsiteX44" fmla="*/ 6818078 w 8551628"/>
              <a:gd name="connsiteY44" fmla="*/ 1581150 h 11404119"/>
              <a:gd name="connsiteX45" fmla="*/ 6932378 w 8551628"/>
              <a:gd name="connsiteY45" fmla="*/ 1733550 h 11404119"/>
              <a:gd name="connsiteX46" fmla="*/ 7084778 w 8551628"/>
              <a:gd name="connsiteY46" fmla="*/ 2019300 h 11404119"/>
              <a:gd name="connsiteX47" fmla="*/ 7332428 w 8551628"/>
              <a:gd name="connsiteY47" fmla="*/ 2057400 h 11404119"/>
              <a:gd name="connsiteX48" fmla="*/ 7275278 w 8551628"/>
              <a:gd name="connsiteY48" fmla="*/ 2209800 h 11404119"/>
              <a:gd name="connsiteX49" fmla="*/ 7275278 w 8551628"/>
              <a:gd name="connsiteY49" fmla="*/ 2209800 h 11404119"/>
              <a:gd name="connsiteX50" fmla="*/ 7370528 w 8551628"/>
              <a:gd name="connsiteY50" fmla="*/ 2495550 h 11404119"/>
              <a:gd name="connsiteX51" fmla="*/ 7484828 w 8551628"/>
              <a:gd name="connsiteY51" fmla="*/ 2609850 h 11404119"/>
              <a:gd name="connsiteX52" fmla="*/ 7618178 w 8551628"/>
              <a:gd name="connsiteY52" fmla="*/ 2762250 h 11404119"/>
              <a:gd name="connsiteX53" fmla="*/ 7675328 w 8551628"/>
              <a:gd name="connsiteY53" fmla="*/ 2914650 h 11404119"/>
              <a:gd name="connsiteX54" fmla="*/ 7618178 w 8551628"/>
              <a:gd name="connsiteY54" fmla="*/ 3124200 h 11404119"/>
              <a:gd name="connsiteX55" fmla="*/ 7389578 w 8551628"/>
              <a:gd name="connsiteY55" fmla="*/ 3333750 h 11404119"/>
              <a:gd name="connsiteX56" fmla="*/ 7294328 w 8551628"/>
              <a:gd name="connsiteY56" fmla="*/ 3505200 h 11404119"/>
              <a:gd name="connsiteX57" fmla="*/ 7313378 w 8551628"/>
              <a:gd name="connsiteY57" fmla="*/ 3676650 h 11404119"/>
              <a:gd name="connsiteX58" fmla="*/ 7484828 w 8551628"/>
              <a:gd name="connsiteY58" fmla="*/ 3867150 h 11404119"/>
              <a:gd name="connsiteX59" fmla="*/ 7580078 w 8551628"/>
              <a:gd name="connsiteY59" fmla="*/ 3981450 h 11404119"/>
              <a:gd name="connsiteX60" fmla="*/ 7599128 w 8551628"/>
              <a:gd name="connsiteY60" fmla="*/ 4191000 h 11404119"/>
              <a:gd name="connsiteX61" fmla="*/ 7351478 w 8551628"/>
              <a:gd name="connsiteY61" fmla="*/ 4210050 h 11404119"/>
              <a:gd name="connsiteX62" fmla="*/ 7313378 w 8551628"/>
              <a:gd name="connsiteY62" fmla="*/ 4629150 h 11404119"/>
              <a:gd name="connsiteX63" fmla="*/ 7313378 w 8551628"/>
              <a:gd name="connsiteY63" fmla="*/ 4629150 h 11404119"/>
              <a:gd name="connsiteX64" fmla="*/ 7522928 w 8551628"/>
              <a:gd name="connsiteY64" fmla="*/ 4857750 h 11404119"/>
              <a:gd name="connsiteX65" fmla="*/ 7561028 w 8551628"/>
              <a:gd name="connsiteY65" fmla="*/ 4933950 h 11404119"/>
              <a:gd name="connsiteX66" fmla="*/ 7427678 w 8551628"/>
              <a:gd name="connsiteY66" fmla="*/ 5124450 h 11404119"/>
              <a:gd name="connsiteX67" fmla="*/ 7199078 w 8551628"/>
              <a:gd name="connsiteY67" fmla="*/ 5257800 h 11404119"/>
              <a:gd name="connsiteX68" fmla="*/ 7103828 w 8551628"/>
              <a:gd name="connsiteY68" fmla="*/ 5391150 h 11404119"/>
              <a:gd name="connsiteX69" fmla="*/ 7103828 w 8551628"/>
              <a:gd name="connsiteY69" fmla="*/ 6172200 h 11404119"/>
              <a:gd name="connsiteX70" fmla="*/ 7103828 w 8551628"/>
              <a:gd name="connsiteY70" fmla="*/ 6343650 h 11404119"/>
              <a:gd name="connsiteX71" fmla="*/ 7027628 w 8551628"/>
              <a:gd name="connsiteY71" fmla="*/ 6572250 h 11404119"/>
              <a:gd name="connsiteX72" fmla="*/ 6932378 w 8551628"/>
              <a:gd name="connsiteY72" fmla="*/ 6819900 h 11404119"/>
              <a:gd name="connsiteX73" fmla="*/ 6875228 w 8551628"/>
              <a:gd name="connsiteY73" fmla="*/ 7048500 h 11404119"/>
              <a:gd name="connsiteX74" fmla="*/ 6875228 w 8551628"/>
              <a:gd name="connsiteY74" fmla="*/ 7296150 h 11404119"/>
              <a:gd name="connsiteX75" fmla="*/ 6818078 w 8551628"/>
              <a:gd name="connsiteY75" fmla="*/ 7962900 h 11404119"/>
              <a:gd name="connsiteX76" fmla="*/ 6532328 w 8551628"/>
              <a:gd name="connsiteY76" fmla="*/ 8477250 h 11404119"/>
              <a:gd name="connsiteX77" fmla="*/ 6170378 w 8551628"/>
              <a:gd name="connsiteY77" fmla="*/ 8953500 h 11404119"/>
              <a:gd name="connsiteX78" fmla="*/ 5979878 w 8551628"/>
              <a:gd name="connsiteY78" fmla="*/ 9315450 h 11404119"/>
              <a:gd name="connsiteX79" fmla="*/ 5675078 w 8551628"/>
              <a:gd name="connsiteY79" fmla="*/ 9886950 h 11404119"/>
              <a:gd name="connsiteX80" fmla="*/ 5122628 w 8551628"/>
              <a:gd name="connsiteY80" fmla="*/ 10687050 h 11404119"/>
              <a:gd name="connsiteX81" fmla="*/ 5008328 w 8551628"/>
              <a:gd name="connsiteY81" fmla="*/ 11258549 h 11404119"/>
              <a:gd name="connsiteX82" fmla="*/ 4173363 w 8551628"/>
              <a:gd name="connsiteY82" fmla="*/ 11404119 h 11404119"/>
              <a:gd name="connsiteX83" fmla="*/ 4284787 w 8551628"/>
              <a:gd name="connsiteY83" fmla="*/ 8045165 h 11404119"/>
              <a:gd name="connsiteX84" fmla="*/ 2698895 w 8551628"/>
              <a:gd name="connsiteY84" fmla="*/ 7921258 h 11404119"/>
              <a:gd name="connsiteX85" fmla="*/ 2683048 w 8551628"/>
              <a:gd name="connsiteY85" fmla="*/ 7194492 h 11404119"/>
              <a:gd name="connsiteX86" fmla="*/ 1957632 w 8551628"/>
              <a:gd name="connsiteY86" fmla="*/ 7186569 h 11404119"/>
              <a:gd name="connsiteX87" fmla="*/ 17230 w 8551628"/>
              <a:gd name="connsiteY87" fmla="*/ 9791699 h 11404119"/>
              <a:gd name="connsiteX88" fmla="*/ 112480 w 8551628"/>
              <a:gd name="connsiteY88" fmla="*/ 7524749 h 11404119"/>
              <a:gd name="connsiteX89" fmla="*/ 988780 w 8551628"/>
              <a:gd name="connsiteY89" fmla="*/ 7524749 h 11404119"/>
              <a:gd name="connsiteX90" fmla="*/ 969730 w 8551628"/>
              <a:gd name="connsiteY90" fmla="*/ 8229599 h 11404119"/>
              <a:gd name="connsiteX91" fmla="*/ 867308 w 8551628"/>
              <a:gd name="connsiteY91" fmla="*/ 8139280 h 11404119"/>
              <a:gd name="connsiteX92" fmla="*/ 597919 w 8551628"/>
              <a:gd name="connsiteY92" fmla="*/ 8112386 h 11404119"/>
              <a:gd name="connsiteX93" fmla="*/ 390161 w 8551628"/>
              <a:gd name="connsiteY93" fmla="*/ 8306023 h 11404119"/>
              <a:gd name="connsiteX94" fmla="*/ 325168 w 8551628"/>
              <a:gd name="connsiteY94" fmla="*/ 9373496 h 11404119"/>
              <a:gd name="connsiteX95" fmla="*/ 459190 w 8551628"/>
              <a:gd name="connsiteY95" fmla="*/ 9577890 h 11404119"/>
              <a:gd name="connsiteX96" fmla="*/ 738888 w 8551628"/>
              <a:gd name="connsiteY96" fmla="*/ 9623387 h 11404119"/>
              <a:gd name="connsiteX97" fmla="*/ 986764 w 8551628"/>
              <a:gd name="connsiteY97" fmla="*/ 9469642 h 11404119"/>
              <a:gd name="connsiteX98" fmla="*/ 1051309 w 8551628"/>
              <a:gd name="connsiteY98" fmla="*/ 8393877 h 11404119"/>
              <a:gd name="connsiteX0" fmla="*/ 933448 w 8439148"/>
              <a:gd name="connsiteY0" fmla="*/ 8362950 h 11404119"/>
              <a:gd name="connsiteX1" fmla="*/ 933448 w 8439148"/>
              <a:gd name="connsiteY1" fmla="*/ 8362950 h 11404119"/>
              <a:gd name="connsiteX2" fmla="*/ 890420 w 8439148"/>
              <a:gd name="connsiteY2" fmla="*/ 8237891 h 11404119"/>
              <a:gd name="connsiteX3" fmla="*/ 895348 w 8439148"/>
              <a:gd name="connsiteY3" fmla="*/ 7524750 h 11404119"/>
              <a:gd name="connsiteX4" fmla="*/ 1828798 w 8439148"/>
              <a:gd name="connsiteY4" fmla="*/ 7562850 h 11404119"/>
              <a:gd name="connsiteX5" fmla="*/ 1866898 w 8439148"/>
              <a:gd name="connsiteY5" fmla="*/ 6705600 h 11404119"/>
              <a:gd name="connsiteX6" fmla="*/ 1447798 w 8439148"/>
              <a:gd name="connsiteY6" fmla="*/ 6705600 h 11404119"/>
              <a:gd name="connsiteX7" fmla="*/ 1466848 w 8439148"/>
              <a:gd name="connsiteY7" fmla="*/ 6496050 h 11404119"/>
              <a:gd name="connsiteX8" fmla="*/ 2152648 w 8439148"/>
              <a:gd name="connsiteY8" fmla="*/ 6572250 h 11404119"/>
              <a:gd name="connsiteX9" fmla="*/ 3524248 w 8439148"/>
              <a:gd name="connsiteY9" fmla="*/ 6629400 h 11404119"/>
              <a:gd name="connsiteX10" fmla="*/ 3486148 w 8439148"/>
              <a:gd name="connsiteY10" fmla="*/ 7448550 h 11404119"/>
              <a:gd name="connsiteX11" fmla="*/ 6191248 w 8439148"/>
              <a:gd name="connsiteY11" fmla="*/ 7620000 h 11404119"/>
              <a:gd name="connsiteX12" fmla="*/ 6762748 w 8439148"/>
              <a:gd name="connsiteY12" fmla="*/ 7181850 h 11404119"/>
              <a:gd name="connsiteX13" fmla="*/ 6781798 w 8439148"/>
              <a:gd name="connsiteY13" fmla="*/ 6915150 h 11404119"/>
              <a:gd name="connsiteX14" fmla="*/ 6857998 w 8439148"/>
              <a:gd name="connsiteY14" fmla="*/ 6686550 h 11404119"/>
              <a:gd name="connsiteX15" fmla="*/ 6953248 w 8439148"/>
              <a:gd name="connsiteY15" fmla="*/ 6515100 h 11404119"/>
              <a:gd name="connsiteX16" fmla="*/ 6972298 w 8439148"/>
              <a:gd name="connsiteY16" fmla="*/ 6172200 h 11404119"/>
              <a:gd name="connsiteX17" fmla="*/ 6953248 w 8439148"/>
              <a:gd name="connsiteY17" fmla="*/ 5695950 h 11404119"/>
              <a:gd name="connsiteX18" fmla="*/ 6991348 w 8439148"/>
              <a:gd name="connsiteY18" fmla="*/ 5391150 h 11404119"/>
              <a:gd name="connsiteX19" fmla="*/ 7162798 w 8439148"/>
              <a:gd name="connsiteY19" fmla="*/ 5219700 h 11404119"/>
              <a:gd name="connsiteX20" fmla="*/ 7353298 w 8439148"/>
              <a:gd name="connsiteY20" fmla="*/ 5067300 h 11404119"/>
              <a:gd name="connsiteX21" fmla="*/ 7448548 w 8439148"/>
              <a:gd name="connsiteY21" fmla="*/ 4933950 h 11404119"/>
              <a:gd name="connsiteX22" fmla="*/ 7391398 w 8439148"/>
              <a:gd name="connsiteY22" fmla="*/ 4781550 h 11404119"/>
              <a:gd name="connsiteX23" fmla="*/ 7238998 w 8439148"/>
              <a:gd name="connsiteY23" fmla="*/ 4648200 h 11404119"/>
              <a:gd name="connsiteX24" fmla="*/ 7238998 w 8439148"/>
              <a:gd name="connsiteY24" fmla="*/ 4648200 h 11404119"/>
              <a:gd name="connsiteX25" fmla="*/ 7238998 w 8439148"/>
              <a:gd name="connsiteY25" fmla="*/ 4210050 h 11404119"/>
              <a:gd name="connsiteX26" fmla="*/ 7505698 w 8439148"/>
              <a:gd name="connsiteY26" fmla="*/ 4210050 h 11404119"/>
              <a:gd name="connsiteX27" fmla="*/ 7581898 w 8439148"/>
              <a:gd name="connsiteY27" fmla="*/ 4438650 h 11404119"/>
              <a:gd name="connsiteX28" fmla="*/ 7619998 w 8439148"/>
              <a:gd name="connsiteY28" fmla="*/ 4629150 h 11404119"/>
              <a:gd name="connsiteX29" fmla="*/ 7677148 w 8439148"/>
              <a:gd name="connsiteY29" fmla="*/ 4895850 h 11404119"/>
              <a:gd name="connsiteX30" fmla="*/ 7619998 w 8439148"/>
              <a:gd name="connsiteY30" fmla="*/ 5067300 h 11404119"/>
              <a:gd name="connsiteX31" fmla="*/ 7886698 w 8439148"/>
              <a:gd name="connsiteY31" fmla="*/ 5314950 h 11404119"/>
              <a:gd name="connsiteX32" fmla="*/ 8439148 w 8439148"/>
              <a:gd name="connsiteY32" fmla="*/ 5467350 h 11404119"/>
              <a:gd name="connsiteX33" fmla="*/ 8153398 w 8439148"/>
              <a:gd name="connsiteY33" fmla="*/ 19050 h 11404119"/>
              <a:gd name="connsiteX34" fmla="*/ 7505698 w 8439148"/>
              <a:gd name="connsiteY34" fmla="*/ 0 h 11404119"/>
              <a:gd name="connsiteX35" fmla="*/ 7067548 w 8439148"/>
              <a:gd name="connsiteY35" fmla="*/ 0 h 11404119"/>
              <a:gd name="connsiteX36" fmla="*/ 6038848 w 8439148"/>
              <a:gd name="connsiteY36" fmla="*/ 190500 h 11404119"/>
              <a:gd name="connsiteX37" fmla="*/ 5333998 w 8439148"/>
              <a:gd name="connsiteY37" fmla="*/ 209550 h 11404119"/>
              <a:gd name="connsiteX38" fmla="*/ 5372098 w 8439148"/>
              <a:gd name="connsiteY38" fmla="*/ 266700 h 11404119"/>
              <a:gd name="connsiteX39" fmla="*/ 5181598 w 8439148"/>
              <a:gd name="connsiteY39" fmla="*/ 285750 h 11404119"/>
              <a:gd name="connsiteX40" fmla="*/ 5200648 w 8439148"/>
              <a:gd name="connsiteY40" fmla="*/ 400050 h 11404119"/>
              <a:gd name="connsiteX41" fmla="*/ 6134098 w 8439148"/>
              <a:gd name="connsiteY41" fmla="*/ 381000 h 11404119"/>
              <a:gd name="connsiteX42" fmla="*/ 6343648 w 8439148"/>
              <a:gd name="connsiteY42" fmla="*/ 457200 h 11404119"/>
              <a:gd name="connsiteX43" fmla="*/ 6534148 w 8439148"/>
              <a:gd name="connsiteY43" fmla="*/ 876300 h 11404119"/>
              <a:gd name="connsiteX44" fmla="*/ 6705598 w 8439148"/>
              <a:gd name="connsiteY44" fmla="*/ 1581150 h 11404119"/>
              <a:gd name="connsiteX45" fmla="*/ 6819898 w 8439148"/>
              <a:gd name="connsiteY45" fmla="*/ 1733550 h 11404119"/>
              <a:gd name="connsiteX46" fmla="*/ 6972298 w 8439148"/>
              <a:gd name="connsiteY46" fmla="*/ 2019300 h 11404119"/>
              <a:gd name="connsiteX47" fmla="*/ 7219948 w 8439148"/>
              <a:gd name="connsiteY47" fmla="*/ 2057400 h 11404119"/>
              <a:gd name="connsiteX48" fmla="*/ 7162798 w 8439148"/>
              <a:gd name="connsiteY48" fmla="*/ 2209800 h 11404119"/>
              <a:gd name="connsiteX49" fmla="*/ 7162798 w 8439148"/>
              <a:gd name="connsiteY49" fmla="*/ 2209800 h 11404119"/>
              <a:gd name="connsiteX50" fmla="*/ 7258048 w 8439148"/>
              <a:gd name="connsiteY50" fmla="*/ 2495550 h 11404119"/>
              <a:gd name="connsiteX51" fmla="*/ 7372348 w 8439148"/>
              <a:gd name="connsiteY51" fmla="*/ 2609850 h 11404119"/>
              <a:gd name="connsiteX52" fmla="*/ 7505698 w 8439148"/>
              <a:gd name="connsiteY52" fmla="*/ 2762250 h 11404119"/>
              <a:gd name="connsiteX53" fmla="*/ 7562848 w 8439148"/>
              <a:gd name="connsiteY53" fmla="*/ 2914650 h 11404119"/>
              <a:gd name="connsiteX54" fmla="*/ 7505698 w 8439148"/>
              <a:gd name="connsiteY54" fmla="*/ 3124200 h 11404119"/>
              <a:gd name="connsiteX55" fmla="*/ 7277098 w 8439148"/>
              <a:gd name="connsiteY55" fmla="*/ 3333750 h 11404119"/>
              <a:gd name="connsiteX56" fmla="*/ 7181848 w 8439148"/>
              <a:gd name="connsiteY56" fmla="*/ 3505200 h 11404119"/>
              <a:gd name="connsiteX57" fmla="*/ 7200898 w 8439148"/>
              <a:gd name="connsiteY57" fmla="*/ 3676650 h 11404119"/>
              <a:gd name="connsiteX58" fmla="*/ 7372348 w 8439148"/>
              <a:gd name="connsiteY58" fmla="*/ 3867150 h 11404119"/>
              <a:gd name="connsiteX59" fmla="*/ 7467598 w 8439148"/>
              <a:gd name="connsiteY59" fmla="*/ 3981450 h 11404119"/>
              <a:gd name="connsiteX60" fmla="*/ 7486648 w 8439148"/>
              <a:gd name="connsiteY60" fmla="*/ 4191000 h 11404119"/>
              <a:gd name="connsiteX61" fmla="*/ 7238998 w 8439148"/>
              <a:gd name="connsiteY61" fmla="*/ 4210050 h 11404119"/>
              <a:gd name="connsiteX62" fmla="*/ 7200898 w 8439148"/>
              <a:gd name="connsiteY62" fmla="*/ 4629150 h 11404119"/>
              <a:gd name="connsiteX63" fmla="*/ 7200898 w 8439148"/>
              <a:gd name="connsiteY63" fmla="*/ 4629150 h 11404119"/>
              <a:gd name="connsiteX64" fmla="*/ 7410448 w 8439148"/>
              <a:gd name="connsiteY64" fmla="*/ 4857750 h 11404119"/>
              <a:gd name="connsiteX65" fmla="*/ 7448548 w 8439148"/>
              <a:gd name="connsiteY65" fmla="*/ 4933950 h 11404119"/>
              <a:gd name="connsiteX66" fmla="*/ 7315198 w 8439148"/>
              <a:gd name="connsiteY66" fmla="*/ 5124450 h 11404119"/>
              <a:gd name="connsiteX67" fmla="*/ 7086598 w 8439148"/>
              <a:gd name="connsiteY67" fmla="*/ 5257800 h 11404119"/>
              <a:gd name="connsiteX68" fmla="*/ 6991348 w 8439148"/>
              <a:gd name="connsiteY68" fmla="*/ 5391150 h 11404119"/>
              <a:gd name="connsiteX69" fmla="*/ 6991348 w 8439148"/>
              <a:gd name="connsiteY69" fmla="*/ 6172200 h 11404119"/>
              <a:gd name="connsiteX70" fmla="*/ 6991348 w 8439148"/>
              <a:gd name="connsiteY70" fmla="*/ 6343650 h 11404119"/>
              <a:gd name="connsiteX71" fmla="*/ 6915148 w 8439148"/>
              <a:gd name="connsiteY71" fmla="*/ 6572250 h 11404119"/>
              <a:gd name="connsiteX72" fmla="*/ 6819898 w 8439148"/>
              <a:gd name="connsiteY72" fmla="*/ 6819900 h 11404119"/>
              <a:gd name="connsiteX73" fmla="*/ 6762748 w 8439148"/>
              <a:gd name="connsiteY73" fmla="*/ 7048500 h 11404119"/>
              <a:gd name="connsiteX74" fmla="*/ 6762748 w 8439148"/>
              <a:gd name="connsiteY74" fmla="*/ 7296150 h 11404119"/>
              <a:gd name="connsiteX75" fmla="*/ 6705598 w 8439148"/>
              <a:gd name="connsiteY75" fmla="*/ 7962900 h 11404119"/>
              <a:gd name="connsiteX76" fmla="*/ 6419848 w 8439148"/>
              <a:gd name="connsiteY76" fmla="*/ 8477250 h 11404119"/>
              <a:gd name="connsiteX77" fmla="*/ 6057898 w 8439148"/>
              <a:gd name="connsiteY77" fmla="*/ 8953500 h 11404119"/>
              <a:gd name="connsiteX78" fmla="*/ 5867398 w 8439148"/>
              <a:gd name="connsiteY78" fmla="*/ 9315450 h 11404119"/>
              <a:gd name="connsiteX79" fmla="*/ 5562598 w 8439148"/>
              <a:gd name="connsiteY79" fmla="*/ 9886950 h 11404119"/>
              <a:gd name="connsiteX80" fmla="*/ 5010148 w 8439148"/>
              <a:gd name="connsiteY80" fmla="*/ 10687050 h 11404119"/>
              <a:gd name="connsiteX81" fmla="*/ 4895848 w 8439148"/>
              <a:gd name="connsiteY81" fmla="*/ 11258549 h 11404119"/>
              <a:gd name="connsiteX82" fmla="*/ 4060883 w 8439148"/>
              <a:gd name="connsiteY82" fmla="*/ 11404119 h 11404119"/>
              <a:gd name="connsiteX83" fmla="*/ 4172307 w 8439148"/>
              <a:gd name="connsiteY83" fmla="*/ 8045165 h 11404119"/>
              <a:gd name="connsiteX84" fmla="*/ 2586415 w 8439148"/>
              <a:gd name="connsiteY84" fmla="*/ 7921258 h 11404119"/>
              <a:gd name="connsiteX85" fmla="*/ 2570568 w 8439148"/>
              <a:gd name="connsiteY85" fmla="*/ 7194492 h 11404119"/>
              <a:gd name="connsiteX86" fmla="*/ 1845152 w 8439148"/>
              <a:gd name="connsiteY86" fmla="*/ 7186569 h 11404119"/>
              <a:gd name="connsiteX87" fmla="*/ 1846839 w 8439148"/>
              <a:gd name="connsiteY87" fmla="*/ 7574481 h 11404119"/>
              <a:gd name="connsiteX88" fmla="*/ 0 w 8439148"/>
              <a:gd name="connsiteY88" fmla="*/ 7524749 h 11404119"/>
              <a:gd name="connsiteX89" fmla="*/ 876300 w 8439148"/>
              <a:gd name="connsiteY89" fmla="*/ 7524749 h 11404119"/>
              <a:gd name="connsiteX90" fmla="*/ 857250 w 8439148"/>
              <a:gd name="connsiteY90" fmla="*/ 8229599 h 11404119"/>
              <a:gd name="connsiteX91" fmla="*/ 754828 w 8439148"/>
              <a:gd name="connsiteY91" fmla="*/ 8139280 h 11404119"/>
              <a:gd name="connsiteX92" fmla="*/ 485439 w 8439148"/>
              <a:gd name="connsiteY92" fmla="*/ 8112386 h 11404119"/>
              <a:gd name="connsiteX93" fmla="*/ 277681 w 8439148"/>
              <a:gd name="connsiteY93" fmla="*/ 8306023 h 11404119"/>
              <a:gd name="connsiteX94" fmla="*/ 212688 w 8439148"/>
              <a:gd name="connsiteY94" fmla="*/ 9373496 h 11404119"/>
              <a:gd name="connsiteX95" fmla="*/ 346710 w 8439148"/>
              <a:gd name="connsiteY95" fmla="*/ 9577890 h 11404119"/>
              <a:gd name="connsiteX96" fmla="*/ 626408 w 8439148"/>
              <a:gd name="connsiteY96" fmla="*/ 9623387 h 11404119"/>
              <a:gd name="connsiteX97" fmla="*/ 874284 w 8439148"/>
              <a:gd name="connsiteY97" fmla="*/ 9469642 h 11404119"/>
              <a:gd name="connsiteX98" fmla="*/ 938829 w 8439148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358622 w 8227202"/>
              <a:gd name="connsiteY85" fmla="*/ 7194492 h 11404119"/>
              <a:gd name="connsiteX86" fmla="*/ 1633206 w 8227202"/>
              <a:gd name="connsiteY86" fmla="*/ 7186569 h 11404119"/>
              <a:gd name="connsiteX87" fmla="*/ 1634893 w 8227202"/>
              <a:gd name="connsiteY87" fmla="*/ 7574481 h 11404119"/>
              <a:gd name="connsiteX88" fmla="*/ 664354 w 8227202"/>
              <a:gd name="connsiteY88" fmla="*/ 7524749 h 11404119"/>
              <a:gd name="connsiteX89" fmla="*/ 645304 w 8227202"/>
              <a:gd name="connsiteY89" fmla="*/ 8229599 h 11404119"/>
              <a:gd name="connsiteX90" fmla="*/ 542882 w 8227202"/>
              <a:gd name="connsiteY90" fmla="*/ 8139280 h 11404119"/>
              <a:gd name="connsiteX91" fmla="*/ 273493 w 8227202"/>
              <a:gd name="connsiteY91" fmla="*/ 8112386 h 11404119"/>
              <a:gd name="connsiteX92" fmla="*/ 65735 w 8227202"/>
              <a:gd name="connsiteY92" fmla="*/ 8306023 h 11404119"/>
              <a:gd name="connsiteX93" fmla="*/ 742 w 8227202"/>
              <a:gd name="connsiteY93" fmla="*/ 9373496 h 11404119"/>
              <a:gd name="connsiteX94" fmla="*/ 134764 w 8227202"/>
              <a:gd name="connsiteY94" fmla="*/ 9577890 h 11404119"/>
              <a:gd name="connsiteX95" fmla="*/ 414462 w 8227202"/>
              <a:gd name="connsiteY95" fmla="*/ 9623387 h 11404119"/>
              <a:gd name="connsiteX96" fmla="*/ 662338 w 8227202"/>
              <a:gd name="connsiteY96" fmla="*/ 9469642 h 11404119"/>
              <a:gd name="connsiteX97" fmla="*/ 726883 w 8227202"/>
              <a:gd name="connsiteY97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358622 w 8227202"/>
              <a:gd name="connsiteY85" fmla="*/ 7194492 h 11404119"/>
              <a:gd name="connsiteX86" fmla="*/ 1633206 w 8227202"/>
              <a:gd name="connsiteY86" fmla="*/ 7186569 h 11404119"/>
              <a:gd name="connsiteX87" fmla="*/ 1634893 w 8227202"/>
              <a:gd name="connsiteY87" fmla="*/ 7574481 h 11404119"/>
              <a:gd name="connsiteX88" fmla="*/ 664354 w 8227202"/>
              <a:gd name="connsiteY88" fmla="*/ 7524749 h 11404119"/>
              <a:gd name="connsiteX89" fmla="*/ 645304 w 8227202"/>
              <a:gd name="connsiteY89" fmla="*/ 8229599 h 11404119"/>
              <a:gd name="connsiteX90" fmla="*/ 542882 w 8227202"/>
              <a:gd name="connsiteY90" fmla="*/ 8139280 h 11404119"/>
              <a:gd name="connsiteX91" fmla="*/ 273493 w 8227202"/>
              <a:gd name="connsiteY91" fmla="*/ 8112386 h 11404119"/>
              <a:gd name="connsiteX92" fmla="*/ 65735 w 8227202"/>
              <a:gd name="connsiteY92" fmla="*/ 8306023 h 11404119"/>
              <a:gd name="connsiteX93" fmla="*/ 742 w 8227202"/>
              <a:gd name="connsiteY93" fmla="*/ 9373496 h 11404119"/>
              <a:gd name="connsiteX94" fmla="*/ 134764 w 8227202"/>
              <a:gd name="connsiteY94" fmla="*/ 9577890 h 11404119"/>
              <a:gd name="connsiteX95" fmla="*/ 414462 w 8227202"/>
              <a:gd name="connsiteY95" fmla="*/ 9623387 h 11404119"/>
              <a:gd name="connsiteX96" fmla="*/ 662338 w 8227202"/>
              <a:gd name="connsiteY96" fmla="*/ 9469642 h 11404119"/>
              <a:gd name="connsiteX97" fmla="*/ 726883 w 8227202"/>
              <a:gd name="connsiteY97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358622 w 8227202"/>
              <a:gd name="connsiteY85" fmla="*/ 7194492 h 11404119"/>
              <a:gd name="connsiteX86" fmla="*/ 1633206 w 8227202"/>
              <a:gd name="connsiteY86" fmla="*/ 7186569 h 11404119"/>
              <a:gd name="connsiteX87" fmla="*/ 1634893 w 8227202"/>
              <a:gd name="connsiteY87" fmla="*/ 7574481 h 11404119"/>
              <a:gd name="connsiteX88" fmla="*/ 664354 w 8227202"/>
              <a:gd name="connsiteY88" fmla="*/ 7524749 h 11404119"/>
              <a:gd name="connsiteX89" fmla="*/ 645304 w 8227202"/>
              <a:gd name="connsiteY89" fmla="*/ 8229599 h 11404119"/>
              <a:gd name="connsiteX90" fmla="*/ 542882 w 8227202"/>
              <a:gd name="connsiteY90" fmla="*/ 8139280 h 11404119"/>
              <a:gd name="connsiteX91" fmla="*/ 273493 w 8227202"/>
              <a:gd name="connsiteY91" fmla="*/ 8112386 h 11404119"/>
              <a:gd name="connsiteX92" fmla="*/ 65735 w 8227202"/>
              <a:gd name="connsiteY92" fmla="*/ 8306023 h 11404119"/>
              <a:gd name="connsiteX93" fmla="*/ 742 w 8227202"/>
              <a:gd name="connsiteY93" fmla="*/ 9373496 h 11404119"/>
              <a:gd name="connsiteX94" fmla="*/ 134764 w 8227202"/>
              <a:gd name="connsiteY94" fmla="*/ 9577890 h 11404119"/>
              <a:gd name="connsiteX95" fmla="*/ 414462 w 8227202"/>
              <a:gd name="connsiteY95" fmla="*/ 9623387 h 11404119"/>
              <a:gd name="connsiteX96" fmla="*/ 662338 w 8227202"/>
              <a:gd name="connsiteY96" fmla="*/ 9469642 h 11404119"/>
              <a:gd name="connsiteX97" fmla="*/ 726883 w 8227202"/>
              <a:gd name="connsiteY97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159569 w 8227202"/>
              <a:gd name="connsiteY85" fmla="*/ 7642362 h 11404119"/>
              <a:gd name="connsiteX86" fmla="*/ 1633206 w 8227202"/>
              <a:gd name="connsiteY86" fmla="*/ 7186569 h 11404119"/>
              <a:gd name="connsiteX87" fmla="*/ 1634893 w 8227202"/>
              <a:gd name="connsiteY87" fmla="*/ 7574481 h 11404119"/>
              <a:gd name="connsiteX88" fmla="*/ 664354 w 8227202"/>
              <a:gd name="connsiteY88" fmla="*/ 7524749 h 11404119"/>
              <a:gd name="connsiteX89" fmla="*/ 645304 w 8227202"/>
              <a:gd name="connsiteY89" fmla="*/ 8229599 h 11404119"/>
              <a:gd name="connsiteX90" fmla="*/ 542882 w 8227202"/>
              <a:gd name="connsiteY90" fmla="*/ 8139280 h 11404119"/>
              <a:gd name="connsiteX91" fmla="*/ 273493 w 8227202"/>
              <a:gd name="connsiteY91" fmla="*/ 8112386 h 11404119"/>
              <a:gd name="connsiteX92" fmla="*/ 65735 w 8227202"/>
              <a:gd name="connsiteY92" fmla="*/ 8306023 h 11404119"/>
              <a:gd name="connsiteX93" fmla="*/ 742 w 8227202"/>
              <a:gd name="connsiteY93" fmla="*/ 9373496 h 11404119"/>
              <a:gd name="connsiteX94" fmla="*/ 134764 w 8227202"/>
              <a:gd name="connsiteY94" fmla="*/ 9577890 h 11404119"/>
              <a:gd name="connsiteX95" fmla="*/ 414462 w 8227202"/>
              <a:gd name="connsiteY95" fmla="*/ 9623387 h 11404119"/>
              <a:gd name="connsiteX96" fmla="*/ 662338 w 8227202"/>
              <a:gd name="connsiteY96" fmla="*/ 9469642 h 11404119"/>
              <a:gd name="connsiteX97" fmla="*/ 726883 w 8227202"/>
              <a:gd name="connsiteY97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159569 w 8227202"/>
              <a:gd name="connsiteY85" fmla="*/ 7642362 h 11404119"/>
              <a:gd name="connsiteX86" fmla="*/ 1633206 w 8227202"/>
              <a:gd name="connsiteY86" fmla="*/ 7186569 h 11404119"/>
              <a:gd name="connsiteX87" fmla="*/ 1634893 w 8227202"/>
              <a:gd name="connsiteY87" fmla="*/ 7574481 h 11404119"/>
              <a:gd name="connsiteX88" fmla="*/ 664354 w 8227202"/>
              <a:gd name="connsiteY88" fmla="*/ 7524749 h 11404119"/>
              <a:gd name="connsiteX89" fmla="*/ 645304 w 8227202"/>
              <a:gd name="connsiteY89" fmla="*/ 8229599 h 11404119"/>
              <a:gd name="connsiteX90" fmla="*/ 542882 w 8227202"/>
              <a:gd name="connsiteY90" fmla="*/ 8139280 h 11404119"/>
              <a:gd name="connsiteX91" fmla="*/ 273493 w 8227202"/>
              <a:gd name="connsiteY91" fmla="*/ 8112386 h 11404119"/>
              <a:gd name="connsiteX92" fmla="*/ 65735 w 8227202"/>
              <a:gd name="connsiteY92" fmla="*/ 8306023 h 11404119"/>
              <a:gd name="connsiteX93" fmla="*/ 742 w 8227202"/>
              <a:gd name="connsiteY93" fmla="*/ 9373496 h 11404119"/>
              <a:gd name="connsiteX94" fmla="*/ 134764 w 8227202"/>
              <a:gd name="connsiteY94" fmla="*/ 9577890 h 11404119"/>
              <a:gd name="connsiteX95" fmla="*/ 414462 w 8227202"/>
              <a:gd name="connsiteY95" fmla="*/ 9623387 h 11404119"/>
              <a:gd name="connsiteX96" fmla="*/ 662338 w 8227202"/>
              <a:gd name="connsiteY96" fmla="*/ 9469642 h 11404119"/>
              <a:gd name="connsiteX97" fmla="*/ 726883 w 8227202"/>
              <a:gd name="connsiteY97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159569 w 8227202"/>
              <a:gd name="connsiteY85" fmla="*/ 7642362 h 11404119"/>
              <a:gd name="connsiteX86" fmla="*/ 1890941 w 8227202"/>
              <a:gd name="connsiteY86" fmla="*/ 7194291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2159569 w 8227202"/>
              <a:gd name="connsiteY85" fmla="*/ 7642362 h 11404119"/>
              <a:gd name="connsiteX86" fmla="*/ 1890941 w 8227202"/>
              <a:gd name="connsiteY86" fmla="*/ 7194291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74469 w 8227202"/>
              <a:gd name="connsiteY84" fmla="*/ 7921258 h 11404119"/>
              <a:gd name="connsiteX85" fmla="*/ 1948075 w 8227202"/>
              <a:gd name="connsiteY85" fmla="*/ 8003146 h 11404119"/>
              <a:gd name="connsiteX86" fmla="*/ 1890941 w 8227202"/>
              <a:gd name="connsiteY86" fmla="*/ 7194291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48075 w 8227202"/>
              <a:gd name="connsiteY85" fmla="*/ 8003146 h 11404119"/>
              <a:gd name="connsiteX86" fmla="*/ 1890941 w 8227202"/>
              <a:gd name="connsiteY86" fmla="*/ 7194291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890941 w 8227202"/>
              <a:gd name="connsiteY86" fmla="*/ 7194291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978026 w 8227202"/>
              <a:gd name="connsiteY86" fmla="*/ 7225393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940704 w 8227202"/>
              <a:gd name="connsiteY86" fmla="*/ 7206732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859839 w 8227202"/>
              <a:gd name="connsiteY86" fmla="*/ 7872315 h 11404119"/>
              <a:gd name="connsiteX87" fmla="*/ 1633206 w 8227202"/>
              <a:gd name="connsiteY87" fmla="*/ 7186569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859839 w 8227202"/>
              <a:gd name="connsiteY86" fmla="*/ 7872315 h 11404119"/>
              <a:gd name="connsiteX87" fmla="*/ 1695410 w 8227202"/>
              <a:gd name="connsiteY87" fmla="*/ 7852153 h 11404119"/>
              <a:gd name="connsiteX88" fmla="*/ 1634893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859839 w 8227202"/>
              <a:gd name="connsiteY86" fmla="*/ 7872315 h 11404119"/>
              <a:gd name="connsiteX87" fmla="*/ 1695410 w 8227202"/>
              <a:gd name="connsiteY87" fmla="*/ 7852153 h 11404119"/>
              <a:gd name="connsiteX88" fmla="*/ 1435840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2318485 w 8227202"/>
              <a:gd name="connsiteY84" fmla="*/ 7971021 h 11404119"/>
              <a:gd name="connsiteX85" fmla="*/ 1960516 w 8227202"/>
              <a:gd name="connsiteY85" fmla="*/ 7953383 h 11404119"/>
              <a:gd name="connsiteX86" fmla="*/ 1859839 w 8227202"/>
              <a:gd name="connsiteY86" fmla="*/ 7872315 h 11404119"/>
              <a:gd name="connsiteX87" fmla="*/ 1695410 w 8227202"/>
              <a:gd name="connsiteY87" fmla="*/ 7852153 h 11404119"/>
              <a:gd name="connsiteX88" fmla="*/ 1435840 w 8227202"/>
              <a:gd name="connsiteY88" fmla="*/ 7574481 h 11404119"/>
              <a:gd name="connsiteX89" fmla="*/ 664354 w 8227202"/>
              <a:gd name="connsiteY89" fmla="*/ 7524749 h 11404119"/>
              <a:gd name="connsiteX90" fmla="*/ 645304 w 8227202"/>
              <a:gd name="connsiteY90" fmla="*/ 8229599 h 11404119"/>
              <a:gd name="connsiteX91" fmla="*/ 542882 w 8227202"/>
              <a:gd name="connsiteY91" fmla="*/ 8139280 h 11404119"/>
              <a:gd name="connsiteX92" fmla="*/ 273493 w 8227202"/>
              <a:gd name="connsiteY92" fmla="*/ 8112386 h 11404119"/>
              <a:gd name="connsiteX93" fmla="*/ 65735 w 8227202"/>
              <a:gd name="connsiteY93" fmla="*/ 8306023 h 11404119"/>
              <a:gd name="connsiteX94" fmla="*/ 742 w 8227202"/>
              <a:gd name="connsiteY94" fmla="*/ 9373496 h 11404119"/>
              <a:gd name="connsiteX95" fmla="*/ 134764 w 8227202"/>
              <a:gd name="connsiteY95" fmla="*/ 9577890 h 11404119"/>
              <a:gd name="connsiteX96" fmla="*/ 414462 w 8227202"/>
              <a:gd name="connsiteY96" fmla="*/ 9623387 h 11404119"/>
              <a:gd name="connsiteX97" fmla="*/ 662338 w 8227202"/>
              <a:gd name="connsiteY97" fmla="*/ 9469642 h 11404119"/>
              <a:gd name="connsiteX98" fmla="*/ 726883 w 8227202"/>
              <a:gd name="connsiteY98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2318485 w 8227202"/>
              <a:gd name="connsiteY85" fmla="*/ 7971021 h 11404119"/>
              <a:gd name="connsiteX86" fmla="*/ 1960516 w 8227202"/>
              <a:gd name="connsiteY86" fmla="*/ 7953383 h 11404119"/>
              <a:gd name="connsiteX87" fmla="*/ 1859839 w 8227202"/>
              <a:gd name="connsiteY87" fmla="*/ 7872315 h 11404119"/>
              <a:gd name="connsiteX88" fmla="*/ 1695410 w 8227202"/>
              <a:gd name="connsiteY88" fmla="*/ 7852153 h 11404119"/>
              <a:gd name="connsiteX89" fmla="*/ 1435840 w 8227202"/>
              <a:gd name="connsiteY89" fmla="*/ 7574481 h 11404119"/>
              <a:gd name="connsiteX90" fmla="*/ 664354 w 8227202"/>
              <a:gd name="connsiteY90" fmla="*/ 7524749 h 11404119"/>
              <a:gd name="connsiteX91" fmla="*/ 645304 w 8227202"/>
              <a:gd name="connsiteY91" fmla="*/ 8229599 h 11404119"/>
              <a:gd name="connsiteX92" fmla="*/ 542882 w 8227202"/>
              <a:gd name="connsiteY92" fmla="*/ 8139280 h 11404119"/>
              <a:gd name="connsiteX93" fmla="*/ 273493 w 8227202"/>
              <a:gd name="connsiteY93" fmla="*/ 8112386 h 11404119"/>
              <a:gd name="connsiteX94" fmla="*/ 65735 w 8227202"/>
              <a:gd name="connsiteY94" fmla="*/ 8306023 h 11404119"/>
              <a:gd name="connsiteX95" fmla="*/ 742 w 8227202"/>
              <a:gd name="connsiteY95" fmla="*/ 9373496 h 11404119"/>
              <a:gd name="connsiteX96" fmla="*/ 134764 w 8227202"/>
              <a:gd name="connsiteY96" fmla="*/ 9577890 h 11404119"/>
              <a:gd name="connsiteX97" fmla="*/ 414462 w 8227202"/>
              <a:gd name="connsiteY97" fmla="*/ 9623387 h 11404119"/>
              <a:gd name="connsiteX98" fmla="*/ 662338 w 8227202"/>
              <a:gd name="connsiteY98" fmla="*/ 9469642 h 11404119"/>
              <a:gd name="connsiteX99" fmla="*/ 726883 w 8227202"/>
              <a:gd name="connsiteY99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318485 w 8227202"/>
              <a:gd name="connsiteY86" fmla="*/ 7971021 h 11404119"/>
              <a:gd name="connsiteX87" fmla="*/ 1960516 w 8227202"/>
              <a:gd name="connsiteY87" fmla="*/ 7953383 h 11404119"/>
              <a:gd name="connsiteX88" fmla="*/ 1859839 w 8227202"/>
              <a:gd name="connsiteY88" fmla="*/ 7872315 h 11404119"/>
              <a:gd name="connsiteX89" fmla="*/ 1695410 w 8227202"/>
              <a:gd name="connsiteY89" fmla="*/ 7852153 h 11404119"/>
              <a:gd name="connsiteX90" fmla="*/ 1435840 w 8227202"/>
              <a:gd name="connsiteY90" fmla="*/ 7574481 h 11404119"/>
              <a:gd name="connsiteX91" fmla="*/ 664354 w 8227202"/>
              <a:gd name="connsiteY91" fmla="*/ 7524749 h 11404119"/>
              <a:gd name="connsiteX92" fmla="*/ 645304 w 8227202"/>
              <a:gd name="connsiteY92" fmla="*/ 8229599 h 11404119"/>
              <a:gd name="connsiteX93" fmla="*/ 542882 w 8227202"/>
              <a:gd name="connsiteY93" fmla="*/ 8139280 h 11404119"/>
              <a:gd name="connsiteX94" fmla="*/ 273493 w 8227202"/>
              <a:gd name="connsiteY94" fmla="*/ 8112386 h 11404119"/>
              <a:gd name="connsiteX95" fmla="*/ 65735 w 8227202"/>
              <a:gd name="connsiteY95" fmla="*/ 8306023 h 11404119"/>
              <a:gd name="connsiteX96" fmla="*/ 742 w 8227202"/>
              <a:gd name="connsiteY96" fmla="*/ 9373496 h 11404119"/>
              <a:gd name="connsiteX97" fmla="*/ 134764 w 8227202"/>
              <a:gd name="connsiteY97" fmla="*/ 9577890 h 11404119"/>
              <a:gd name="connsiteX98" fmla="*/ 414462 w 8227202"/>
              <a:gd name="connsiteY98" fmla="*/ 9623387 h 11404119"/>
              <a:gd name="connsiteX99" fmla="*/ 662338 w 8227202"/>
              <a:gd name="connsiteY99" fmla="*/ 9469642 h 11404119"/>
              <a:gd name="connsiteX100" fmla="*/ 726883 w 8227202"/>
              <a:gd name="connsiteY100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318485 w 8227202"/>
              <a:gd name="connsiteY86" fmla="*/ 7971021 h 11404119"/>
              <a:gd name="connsiteX87" fmla="*/ 1960516 w 8227202"/>
              <a:gd name="connsiteY87" fmla="*/ 7953383 h 11404119"/>
              <a:gd name="connsiteX88" fmla="*/ 1859839 w 8227202"/>
              <a:gd name="connsiteY88" fmla="*/ 7872315 h 11404119"/>
              <a:gd name="connsiteX89" fmla="*/ 1695410 w 8227202"/>
              <a:gd name="connsiteY89" fmla="*/ 7852153 h 11404119"/>
              <a:gd name="connsiteX90" fmla="*/ 1435840 w 8227202"/>
              <a:gd name="connsiteY90" fmla="*/ 7574481 h 11404119"/>
              <a:gd name="connsiteX91" fmla="*/ 664354 w 8227202"/>
              <a:gd name="connsiteY91" fmla="*/ 7524749 h 11404119"/>
              <a:gd name="connsiteX92" fmla="*/ 645304 w 8227202"/>
              <a:gd name="connsiteY92" fmla="*/ 8229599 h 11404119"/>
              <a:gd name="connsiteX93" fmla="*/ 542882 w 8227202"/>
              <a:gd name="connsiteY93" fmla="*/ 8139280 h 11404119"/>
              <a:gd name="connsiteX94" fmla="*/ 273493 w 8227202"/>
              <a:gd name="connsiteY94" fmla="*/ 8112386 h 11404119"/>
              <a:gd name="connsiteX95" fmla="*/ 65735 w 8227202"/>
              <a:gd name="connsiteY95" fmla="*/ 8306023 h 11404119"/>
              <a:gd name="connsiteX96" fmla="*/ 742 w 8227202"/>
              <a:gd name="connsiteY96" fmla="*/ 9373496 h 11404119"/>
              <a:gd name="connsiteX97" fmla="*/ 134764 w 8227202"/>
              <a:gd name="connsiteY97" fmla="*/ 9577890 h 11404119"/>
              <a:gd name="connsiteX98" fmla="*/ 414462 w 8227202"/>
              <a:gd name="connsiteY98" fmla="*/ 9623387 h 11404119"/>
              <a:gd name="connsiteX99" fmla="*/ 662338 w 8227202"/>
              <a:gd name="connsiteY99" fmla="*/ 9469642 h 11404119"/>
              <a:gd name="connsiteX100" fmla="*/ 726883 w 8227202"/>
              <a:gd name="connsiteY100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448704 w 8227202"/>
              <a:gd name="connsiteY86" fmla="*/ 7887074 h 11404119"/>
              <a:gd name="connsiteX87" fmla="*/ 2318485 w 8227202"/>
              <a:gd name="connsiteY87" fmla="*/ 7971021 h 11404119"/>
              <a:gd name="connsiteX88" fmla="*/ 1960516 w 8227202"/>
              <a:gd name="connsiteY88" fmla="*/ 7953383 h 11404119"/>
              <a:gd name="connsiteX89" fmla="*/ 1859839 w 8227202"/>
              <a:gd name="connsiteY89" fmla="*/ 7872315 h 11404119"/>
              <a:gd name="connsiteX90" fmla="*/ 1695410 w 8227202"/>
              <a:gd name="connsiteY90" fmla="*/ 7852153 h 11404119"/>
              <a:gd name="connsiteX91" fmla="*/ 1435840 w 8227202"/>
              <a:gd name="connsiteY91" fmla="*/ 7574481 h 11404119"/>
              <a:gd name="connsiteX92" fmla="*/ 664354 w 8227202"/>
              <a:gd name="connsiteY92" fmla="*/ 7524749 h 11404119"/>
              <a:gd name="connsiteX93" fmla="*/ 645304 w 8227202"/>
              <a:gd name="connsiteY93" fmla="*/ 8229599 h 11404119"/>
              <a:gd name="connsiteX94" fmla="*/ 542882 w 8227202"/>
              <a:gd name="connsiteY94" fmla="*/ 8139280 h 11404119"/>
              <a:gd name="connsiteX95" fmla="*/ 273493 w 8227202"/>
              <a:gd name="connsiteY95" fmla="*/ 8112386 h 11404119"/>
              <a:gd name="connsiteX96" fmla="*/ 65735 w 8227202"/>
              <a:gd name="connsiteY96" fmla="*/ 8306023 h 11404119"/>
              <a:gd name="connsiteX97" fmla="*/ 742 w 8227202"/>
              <a:gd name="connsiteY97" fmla="*/ 9373496 h 11404119"/>
              <a:gd name="connsiteX98" fmla="*/ 134764 w 8227202"/>
              <a:gd name="connsiteY98" fmla="*/ 9577890 h 11404119"/>
              <a:gd name="connsiteX99" fmla="*/ 414462 w 8227202"/>
              <a:gd name="connsiteY99" fmla="*/ 9623387 h 11404119"/>
              <a:gd name="connsiteX100" fmla="*/ 662338 w 8227202"/>
              <a:gd name="connsiteY100" fmla="*/ 9469642 h 11404119"/>
              <a:gd name="connsiteX101" fmla="*/ 726883 w 8227202"/>
              <a:gd name="connsiteY101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448704 w 8227202"/>
              <a:gd name="connsiteY86" fmla="*/ 7887074 h 11404119"/>
              <a:gd name="connsiteX87" fmla="*/ 2252743 w 8227202"/>
              <a:gd name="connsiteY87" fmla="*/ 7971021 h 11404119"/>
              <a:gd name="connsiteX88" fmla="*/ 1960516 w 8227202"/>
              <a:gd name="connsiteY88" fmla="*/ 7953383 h 11404119"/>
              <a:gd name="connsiteX89" fmla="*/ 1859839 w 8227202"/>
              <a:gd name="connsiteY89" fmla="*/ 7872315 h 11404119"/>
              <a:gd name="connsiteX90" fmla="*/ 1695410 w 8227202"/>
              <a:gd name="connsiteY90" fmla="*/ 7852153 h 11404119"/>
              <a:gd name="connsiteX91" fmla="*/ 1435840 w 8227202"/>
              <a:gd name="connsiteY91" fmla="*/ 7574481 h 11404119"/>
              <a:gd name="connsiteX92" fmla="*/ 664354 w 8227202"/>
              <a:gd name="connsiteY92" fmla="*/ 7524749 h 11404119"/>
              <a:gd name="connsiteX93" fmla="*/ 645304 w 8227202"/>
              <a:gd name="connsiteY93" fmla="*/ 8229599 h 11404119"/>
              <a:gd name="connsiteX94" fmla="*/ 542882 w 8227202"/>
              <a:gd name="connsiteY94" fmla="*/ 8139280 h 11404119"/>
              <a:gd name="connsiteX95" fmla="*/ 273493 w 8227202"/>
              <a:gd name="connsiteY95" fmla="*/ 8112386 h 11404119"/>
              <a:gd name="connsiteX96" fmla="*/ 65735 w 8227202"/>
              <a:gd name="connsiteY96" fmla="*/ 8306023 h 11404119"/>
              <a:gd name="connsiteX97" fmla="*/ 742 w 8227202"/>
              <a:gd name="connsiteY97" fmla="*/ 9373496 h 11404119"/>
              <a:gd name="connsiteX98" fmla="*/ 134764 w 8227202"/>
              <a:gd name="connsiteY98" fmla="*/ 9577890 h 11404119"/>
              <a:gd name="connsiteX99" fmla="*/ 414462 w 8227202"/>
              <a:gd name="connsiteY99" fmla="*/ 9623387 h 11404119"/>
              <a:gd name="connsiteX100" fmla="*/ 662338 w 8227202"/>
              <a:gd name="connsiteY100" fmla="*/ 9469642 h 11404119"/>
              <a:gd name="connsiteX101" fmla="*/ 726883 w 8227202"/>
              <a:gd name="connsiteY101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960361 w 8227202"/>
              <a:gd name="connsiteY83" fmla="*/ 8045165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448704 w 8227202"/>
              <a:gd name="connsiteY86" fmla="*/ 7887074 h 11404119"/>
              <a:gd name="connsiteX87" fmla="*/ 2252743 w 8227202"/>
              <a:gd name="connsiteY87" fmla="*/ 7971021 h 11404119"/>
              <a:gd name="connsiteX88" fmla="*/ 1960516 w 8227202"/>
              <a:gd name="connsiteY88" fmla="*/ 7953383 h 11404119"/>
              <a:gd name="connsiteX89" fmla="*/ 1859839 w 8227202"/>
              <a:gd name="connsiteY89" fmla="*/ 7872315 h 11404119"/>
              <a:gd name="connsiteX90" fmla="*/ 1695410 w 8227202"/>
              <a:gd name="connsiteY90" fmla="*/ 7852153 h 11404119"/>
              <a:gd name="connsiteX91" fmla="*/ 1435840 w 8227202"/>
              <a:gd name="connsiteY91" fmla="*/ 7574481 h 11404119"/>
              <a:gd name="connsiteX92" fmla="*/ 664354 w 8227202"/>
              <a:gd name="connsiteY92" fmla="*/ 7524749 h 11404119"/>
              <a:gd name="connsiteX93" fmla="*/ 645304 w 8227202"/>
              <a:gd name="connsiteY93" fmla="*/ 8229599 h 11404119"/>
              <a:gd name="connsiteX94" fmla="*/ 542882 w 8227202"/>
              <a:gd name="connsiteY94" fmla="*/ 8139280 h 11404119"/>
              <a:gd name="connsiteX95" fmla="*/ 273493 w 8227202"/>
              <a:gd name="connsiteY95" fmla="*/ 8112386 h 11404119"/>
              <a:gd name="connsiteX96" fmla="*/ 65735 w 8227202"/>
              <a:gd name="connsiteY96" fmla="*/ 8306023 h 11404119"/>
              <a:gd name="connsiteX97" fmla="*/ 742 w 8227202"/>
              <a:gd name="connsiteY97" fmla="*/ 9373496 h 11404119"/>
              <a:gd name="connsiteX98" fmla="*/ 134764 w 8227202"/>
              <a:gd name="connsiteY98" fmla="*/ 9577890 h 11404119"/>
              <a:gd name="connsiteX99" fmla="*/ 414462 w 8227202"/>
              <a:gd name="connsiteY99" fmla="*/ 9623387 h 11404119"/>
              <a:gd name="connsiteX100" fmla="*/ 662338 w 8227202"/>
              <a:gd name="connsiteY100" fmla="*/ 9469642 h 11404119"/>
              <a:gd name="connsiteX101" fmla="*/ 726883 w 8227202"/>
              <a:gd name="connsiteY101" fmla="*/ 8393877 h 11404119"/>
              <a:gd name="connsiteX0" fmla="*/ 721502 w 8227202"/>
              <a:gd name="connsiteY0" fmla="*/ 8362950 h 11404119"/>
              <a:gd name="connsiteX1" fmla="*/ 721502 w 8227202"/>
              <a:gd name="connsiteY1" fmla="*/ 8362950 h 11404119"/>
              <a:gd name="connsiteX2" fmla="*/ 678474 w 8227202"/>
              <a:gd name="connsiteY2" fmla="*/ 8237891 h 11404119"/>
              <a:gd name="connsiteX3" fmla="*/ 683402 w 8227202"/>
              <a:gd name="connsiteY3" fmla="*/ 7524750 h 11404119"/>
              <a:gd name="connsiteX4" fmla="*/ 1616852 w 8227202"/>
              <a:gd name="connsiteY4" fmla="*/ 7562850 h 11404119"/>
              <a:gd name="connsiteX5" fmla="*/ 1654952 w 8227202"/>
              <a:gd name="connsiteY5" fmla="*/ 6705600 h 11404119"/>
              <a:gd name="connsiteX6" fmla="*/ 1235852 w 8227202"/>
              <a:gd name="connsiteY6" fmla="*/ 6705600 h 11404119"/>
              <a:gd name="connsiteX7" fmla="*/ 1254902 w 8227202"/>
              <a:gd name="connsiteY7" fmla="*/ 6496050 h 11404119"/>
              <a:gd name="connsiteX8" fmla="*/ 1940702 w 8227202"/>
              <a:gd name="connsiteY8" fmla="*/ 6572250 h 11404119"/>
              <a:gd name="connsiteX9" fmla="*/ 3312302 w 8227202"/>
              <a:gd name="connsiteY9" fmla="*/ 6629400 h 11404119"/>
              <a:gd name="connsiteX10" fmla="*/ 3274202 w 8227202"/>
              <a:gd name="connsiteY10" fmla="*/ 7448550 h 11404119"/>
              <a:gd name="connsiteX11" fmla="*/ 5979302 w 8227202"/>
              <a:gd name="connsiteY11" fmla="*/ 7620000 h 11404119"/>
              <a:gd name="connsiteX12" fmla="*/ 6550802 w 8227202"/>
              <a:gd name="connsiteY12" fmla="*/ 7181850 h 11404119"/>
              <a:gd name="connsiteX13" fmla="*/ 6569852 w 8227202"/>
              <a:gd name="connsiteY13" fmla="*/ 6915150 h 11404119"/>
              <a:gd name="connsiteX14" fmla="*/ 6646052 w 8227202"/>
              <a:gd name="connsiteY14" fmla="*/ 6686550 h 11404119"/>
              <a:gd name="connsiteX15" fmla="*/ 6741302 w 8227202"/>
              <a:gd name="connsiteY15" fmla="*/ 6515100 h 11404119"/>
              <a:gd name="connsiteX16" fmla="*/ 6760352 w 8227202"/>
              <a:gd name="connsiteY16" fmla="*/ 6172200 h 11404119"/>
              <a:gd name="connsiteX17" fmla="*/ 6741302 w 8227202"/>
              <a:gd name="connsiteY17" fmla="*/ 5695950 h 11404119"/>
              <a:gd name="connsiteX18" fmla="*/ 6779402 w 8227202"/>
              <a:gd name="connsiteY18" fmla="*/ 5391150 h 11404119"/>
              <a:gd name="connsiteX19" fmla="*/ 6950852 w 8227202"/>
              <a:gd name="connsiteY19" fmla="*/ 5219700 h 11404119"/>
              <a:gd name="connsiteX20" fmla="*/ 7141352 w 8227202"/>
              <a:gd name="connsiteY20" fmla="*/ 5067300 h 11404119"/>
              <a:gd name="connsiteX21" fmla="*/ 7236602 w 8227202"/>
              <a:gd name="connsiteY21" fmla="*/ 4933950 h 11404119"/>
              <a:gd name="connsiteX22" fmla="*/ 7179452 w 8227202"/>
              <a:gd name="connsiteY22" fmla="*/ 4781550 h 11404119"/>
              <a:gd name="connsiteX23" fmla="*/ 7027052 w 8227202"/>
              <a:gd name="connsiteY23" fmla="*/ 4648200 h 11404119"/>
              <a:gd name="connsiteX24" fmla="*/ 7027052 w 8227202"/>
              <a:gd name="connsiteY24" fmla="*/ 4648200 h 11404119"/>
              <a:gd name="connsiteX25" fmla="*/ 7027052 w 8227202"/>
              <a:gd name="connsiteY25" fmla="*/ 4210050 h 11404119"/>
              <a:gd name="connsiteX26" fmla="*/ 7293752 w 8227202"/>
              <a:gd name="connsiteY26" fmla="*/ 4210050 h 11404119"/>
              <a:gd name="connsiteX27" fmla="*/ 7369952 w 8227202"/>
              <a:gd name="connsiteY27" fmla="*/ 4438650 h 11404119"/>
              <a:gd name="connsiteX28" fmla="*/ 7408052 w 8227202"/>
              <a:gd name="connsiteY28" fmla="*/ 4629150 h 11404119"/>
              <a:gd name="connsiteX29" fmla="*/ 7465202 w 8227202"/>
              <a:gd name="connsiteY29" fmla="*/ 4895850 h 11404119"/>
              <a:gd name="connsiteX30" fmla="*/ 7408052 w 8227202"/>
              <a:gd name="connsiteY30" fmla="*/ 5067300 h 11404119"/>
              <a:gd name="connsiteX31" fmla="*/ 7674752 w 8227202"/>
              <a:gd name="connsiteY31" fmla="*/ 5314950 h 11404119"/>
              <a:gd name="connsiteX32" fmla="*/ 8227202 w 8227202"/>
              <a:gd name="connsiteY32" fmla="*/ 5467350 h 11404119"/>
              <a:gd name="connsiteX33" fmla="*/ 7941452 w 8227202"/>
              <a:gd name="connsiteY33" fmla="*/ 19050 h 11404119"/>
              <a:gd name="connsiteX34" fmla="*/ 7293752 w 8227202"/>
              <a:gd name="connsiteY34" fmla="*/ 0 h 11404119"/>
              <a:gd name="connsiteX35" fmla="*/ 6855602 w 8227202"/>
              <a:gd name="connsiteY35" fmla="*/ 0 h 11404119"/>
              <a:gd name="connsiteX36" fmla="*/ 5826902 w 8227202"/>
              <a:gd name="connsiteY36" fmla="*/ 190500 h 11404119"/>
              <a:gd name="connsiteX37" fmla="*/ 5122052 w 8227202"/>
              <a:gd name="connsiteY37" fmla="*/ 209550 h 11404119"/>
              <a:gd name="connsiteX38" fmla="*/ 5160152 w 8227202"/>
              <a:gd name="connsiteY38" fmla="*/ 266700 h 11404119"/>
              <a:gd name="connsiteX39" fmla="*/ 4969652 w 8227202"/>
              <a:gd name="connsiteY39" fmla="*/ 285750 h 11404119"/>
              <a:gd name="connsiteX40" fmla="*/ 4988702 w 8227202"/>
              <a:gd name="connsiteY40" fmla="*/ 400050 h 11404119"/>
              <a:gd name="connsiteX41" fmla="*/ 5922152 w 8227202"/>
              <a:gd name="connsiteY41" fmla="*/ 381000 h 11404119"/>
              <a:gd name="connsiteX42" fmla="*/ 6131702 w 8227202"/>
              <a:gd name="connsiteY42" fmla="*/ 457200 h 11404119"/>
              <a:gd name="connsiteX43" fmla="*/ 6322202 w 8227202"/>
              <a:gd name="connsiteY43" fmla="*/ 876300 h 11404119"/>
              <a:gd name="connsiteX44" fmla="*/ 6493652 w 8227202"/>
              <a:gd name="connsiteY44" fmla="*/ 1581150 h 11404119"/>
              <a:gd name="connsiteX45" fmla="*/ 6607952 w 8227202"/>
              <a:gd name="connsiteY45" fmla="*/ 1733550 h 11404119"/>
              <a:gd name="connsiteX46" fmla="*/ 6760352 w 8227202"/>
              <a:gd name="connsiteY46" fmla="*/ 2019300 h 11404119"/>
              <a:gd name="connsiteX47" fmla="*/ 7008002 w 8227202"/>
              <a:gd name="connsiteY47" fmla="*/ 2057400 h 11404119"/>
              <a:gd name="connsiteX48" fmla="*/ 6950852 w 8227202"/>
              <a:gd name="connsiteY48" fmla="*/ 2209800 h 11404119"/>
              <a:gd name="connsiteX49" fmla="*/ 6950852 w 8227202"/>
              <a:gd name="connsiteY49" fmla="*/ 2209800 h 11404119"/>
              <a:gd name="connsiteX50" fmla="*/ 7046102 w 8227202"/>
              <a:gd name="connsiteY50" fmla="*/ 2495550 h 11404119"/>
              <a:gd name="connsiteX51" fmla="*/ 7160402 w 8227202"/>
              <a:gd name="connsiteY51" fmla="*/ 2609850 h 11404119"/>
              <a:gd name="connsiteX52" fmla="*/ 7293752 w 8227202"/>
              <a:gd name="connsiteY52" fmla="*/ 2762250 h 11404119"/>
              <a:gd name="connsiteX53" fmla="*/ 7350902 w 8227202"/>
              <a:gd name="connsiteY53" fmla="*/ 2914650 h 11404119"/>
              <a:gd name="connsiteX54" fmla="*/ 7293752 w 8227202"/>
              <a:gd name="connsiteY54" fmla="*/ 3124200 h 11404119"/>
              <a:gd name="connsiteX55" fmla="*/ 7065152 w 8227202"/>
              <a:gd name="connsiteY55" fmla="*/ 3333750 h 11404119"/>
              <a:gd name="connsiteX56" fmla="*/ 6969902 w 8227202"/>
              <a:gd name="connsiteY56" fmla="*/ 3505200 h 11404119"/>
              <a:gd name="connsiteX57" fmla="*/ 6988952 w 8227202"/>
              <a:gd name="connsiteY57" fmla="*/ 3676650 h 11404119"/>
              <a:gd name="connsiteX58" fmla="*/ 7160402 w 8227202"/>
              <a:gd name="connsiteY58" fmla="*/ 3867150 h 11404119"/>
              <a:gd name="connsiteX59" fmla="*/ 7255652 w 8227202"/>
              <a:gd name="connsiteY59" fmla="*/ 3981450 h 11404119"/>
              <a:gd name="connsiteX60" fmla="*/ 7274702 w 8227202"/>
              <a:gd name="connsiteY60" fmla="*/ 4191000 h 11404119"/>
              <a:gd name="connsiteX61" fmla="*/ 7027052 w 8227202"/>
              <a:gd name="connsiteY61" fmla="*/ 4210050 h 11404119"/>
              <a:gd name="connsiteX62" fmla="*/ 6988952 w 8227202"/>
              <a:gd name="connsiteY62" fmla="*/ 4629150 h 11404119"/>
              <a:gd name="connsiteX63" fmla="*/ 6988952 w 8227202"/>
              <a:gd name="connsiteY63" fmla="*/ 4629150 h 11404119"/>
              <a:gd name="connsiteX64" fmla="*/ 7198502 w 8227202"/>
              <a:gd name="connsiteY64" fmla="*/ 4857750 h 11404119"/>
              <a:gd name="connsiteX65" fmla="*/ 7236602 w 8227202"/>
              <a:gd name="connsiteY65" fmla="*/ 4933950 h 11404119"/>
              <a:gd name="connsiteX66" fmla="*/ 7103252 w 8227202"/>
              <a:gd name="connsiteY66" fmla="*/ 5124450 h 11404119"/>
              <a:gd name="connsiteX67" fmla="*/ 6874652 w 8227202"/>
              <a:gd name="connsiteY67" fmla="*/ 5257800 h 11404119"/>
              <a:gd name="connsiteX68" fmla="*/ 6779402 w 8227202"/>
              <a:gd name="connsiteY68" fmla="*/ 5391150 h 11404119"/>
              <a:gd name="connsiteX69" fmla="*/ 6779402 w 8227202"/>
              <a:gd name="connsiteY69" fmla="*/ 6172200 h 11404119"/>
              <a:gd name="connsiteX70" fmla="*/ 6779402 w 8227202"/>
              <a:gd name="connsiteY70" fmla="*/ 6343650 h 11404119"/>
              <a:gd name="connsiteX71" fmla="*/ 6703202 w 8227202"/>
              <a:gd name="connsiteY71" fmla="*/ 6572250 h 11404119"/>
              <a:gd name="connsiteX72" fmla="*/ 6607952 w 8227202"/>
              <a:gd name="connsiteY72" fmla="*/ 6819900 h 11404119"/>
              <a:gd name="connsiteX73" fmla="*/ 6550802 w 8227202"/>
              <a:gd name="connsiteY73" fmla="*/ 7048500 h 11404119"/>
              <a:gd name="connsiteX74" fmla="*/ 6550802 w 8227202"/>
              <a:gd name="connsiteY74" fmla="*/ 7296150 h 11404119"/>
              <a:gd name="connsiteX75" fmla="*/ 6493652 w 8227202"/>
              <a:gd name="connsiteY75" fmla="*/ 7962900 h 11404119"/>
              <a:gd name="connsiteX76" fmla="*/ 6207902 w 8227202"/>
              <a:gd name="connsiteY76" fmla="*/ 8477250 h 11404119"/>
              <a:gd name="connsiteX77" fmla="*/ 5845952 w 8227202"/>
              <a:gd name="connsiteY77" fmla="*/ 8953500 h 11404119"/>
              <a:gd name="connsiteX78" fmla="*/ 5655452 w 8227202"/>
              <a:gd name="connsiteY78" fmla="*/ 9315450 h 11404119"/>
              <a:gd name="connsiteX79" fmla="*/ 5350652 w 8227202"/>
              <a:gd name="connsiteY79" fmla="*/ 9886950 h 11404119"/>
              <a:gd name="connsiteX80" fmla="*/ 4798202 w 8227202"/>
              <a:gd name="connsiteY80" fmla="*/ 10687050 h 11404119"/>
              <a:gd name="connsiteX81" fmla="*/ 4683902 w 8227202"/>
              <a:gd name="connsiteY81" fmla="*/ 11258549 h 11404119"/>
              <a:gd name="connsiteX82" fmla="*/ 3848937 w 8227202"/>
              <a:gd name="connsiteY82" fmla="*/ 11404119 h 11404119"/>
              <a:gd name="connsiteX83" fmla="*/ 3876690 w 8227202"/>
              <a:gd name="connsiteY83" fmla="*/ 8051142 h 11404119"/>
              <a:gd name="connsiteX84" fmla="*/ 3189786 w 8227202"/>
              <a:gd name="connsiteY84" fmla="*/ 8036485 h 11404119"/>
              <a:gd name="connsiteX85" fmla="*/ 3082210 w 8227202"/>
              <a:gd name="connsiteY85" fmla="*/ 7893050 h 11404119"/>
              <a:gd name="connsiteX86" fmla="*/ 2448704 w 8227202"/>
              <a:gd name="connsiteY86" fmla="*/ 7887074 h 11404119"/>
              <a:gd name="connsiteX87" fmla="*/ 2252743 w 8227202"/>
              <a:gd name="connsiteY87" fmla="*/ 7971021 h 11404119"/>
              <a:gd name="connsiteX88" fmla="*/ 1960516 w 8227202"/>
              <a:gd name="connsiteY88" fmla="*/ 7953383 h 11404119"/>
              <a:gd name="connsiteX89" fmla="*/ 1859839 w 8227202"/>
              <a:gd name="connsiteY89" fmla="*/ 7872315 h 11404119"/>
              <a:gd name="connsiteX90" fmla="*/ 1695410 w 8227202"/>
              <a:gd name="connsiteY90" fmla="*/ 7852153 h 11404119"/>
              <a:gd name="connsiteX91" fmla="*/ 1435840 w 8227202"/>
              <a:gd name="connsiteY91" fmla="*/ 7574481 h 11404119"/>
              <a:gd name="connsiteX92" fmla="*/ 664354 w 8227202"/>
              <a:gd name="connsiteY92" fmla="*/ 7524749 h 11404119"/>
              <a:gd name="connsiteX93" fmla="*/ 645304 w 8227202"/>
              <a:gd name="connsiteY93" fmla="*/ 8229599 h 11404119"/>
              <a:gd name="connsiteX94" fmla="*/ 542882 w 8227202"/>
              <a:gd name="connsiteY94" fmla="*/ 8139280 h 11404119"/>
              <a:gd name="connsiteX95" fmla="*/ 273493 w 8227202"/>
              <a:gd name="connsiteY95" fmla="*/ 8112386 h 11404119"/>
              <a:gd name="connsiteX96" fmla="*/ 65735 w 8227202"/>
              <a:gd name="connsiteY96" fmla="*/ 8306023 h 11404119"/>
              <a:gd name="connsiteX97" fmla="*/ 742 w 8227202"/>
              <a:gd name="connsiteY97" fmla="*/ 9373496 h 11404119"/>
              <a:gd name="connsiteX98" fmla="*/ 134764 w 8227202"/>
              <a:gd name="connsiteY98" fmla="*/ 9577890 h 11404119"/>
              <a:gd name="connsiteX99" fmla="*/ 414462 w 8227202"/>
              <a:gd name="connsiteY99" fmla="*/ 9623387 h 11404119"/>
              <a:gd name="connsiteX100" fmla="*/ 662338 w 8227202"/>
              <a:gd name="connsiteY100" fmla="*/ 9469642 h 11404119"/>
              <a:gd name="connsiteX101" fmla="*/ 726883 w 8227202"/>
              <a:gd name="connsiteY101" fmla="*/ 8393877 h 1140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8227202" h="11404119">
                <a:moveTo>
                  <a:pt x="721502" y="8362950"/>
                </a:moveTo>
                <a:lnTo>
                  <a:pt x="721502" y="8362950"/>
                </a:lnTo>
                <a:lnTo>
                  <a:pt x="678474" y="8237891"/>
                </a:lnTo>
                <a:cubicBezTo>
                  <a:pt x="680117" y="8000177"/>
                  <a:pt x="681759" y="7762464"/>
                  <a:pt x="683402" y="7524750"/>
                </a:cubicBezTo>
                <a:lnTo>
                  <a:pt x="1616852" y="7562850"/>
                </a:lnTo>
                <a:lnTo>
                  <a:pt x="1654952" y="6705600"/>
                </a:lnTo>
                <a:lnTo>
                  <a:pt x="1235852" y="6705600"/>
                </a:lnTo>
                <a:lnTo>
                  <a:pt x="1254902" y="6496050"/>
                </a:lnTo>
                <a:lnTo>
                  <a:pt x="1940702" y="6572250"/>
                </a:lnTo>
                <a:lnTo>
                  <a:pt x="3312302" y="6629400"/>
                </a:lnTo>
                <a:lnTo>
                  <a:pt x="3274202" y="7448550"/>
                </a:lnTo>
                <a:lnTo>
                  <a:pt x="5979302" y="7620000"/>
                </a:lnTo>
                <a:lnTo>
                  <a:pt x="6550802" y="7181850"/>
                </a:lnTo>
                <a:lnTo>
                  <a:pt x="6569852" y="6915150"/>
                </a:lnTo>
                <a:lnTo>
                  <a:pt x="6646052" y="6686550"/>
                </a:lnTo>
                <a:lnTo>
                  <a:pt x="6741302" y="6515100"/>
                </a:lnTo>
                <a:lnTo>
                  <a:pt x="6760352" y="6172200"/>
                </a:lnTo>
                <a:lnTo>
                  <a:pt x="6741302" y="5695950"/>
                </a:lnTo>
                <a:lnTo>
                  <a:pt x="6779402" y="5391150"/>
                </a:lnTo>
                <a:lnTo>
                  <a:pt x="6950852" y="5219700"/>
                </a:lnTo>
                <a:lnTo>
                  <a:pt x="7141352" y="5067300"/>
                </a:lnTo>
                <a:lnTo>
                  <a:pt x="7236602" y="4933950"/>
                </a:lnTo>
                <a:lnTo>
                  <a:pt x="7179452" y="4781550"/>
                </a:lnTo>
                <a:lnTo>
                  <a:pt x="7027052" y="4648200"/>
                </a:lnTo>
                <a:lnTo>
                  <a:pt x="7027052" y="4648200"/>
                </a:lnTo>
                <a:lnTo>
                  <a:pt x="7027052" y="4210050"/>
                </a:lnTo>
                <a:lnTo>
                  <a:pt x="7293752" y="4210050"/>
                </a:lnTo>
                <a:lnTo>
                  <a:pt x="7369952" y="4438650"/>
                </a:lnTo>
                <a:lnTo>
                  <a:pt x="7408052" y="4629150"/>
                </a:lnTo>
                <a:lnTo>
                  <a:pt x="7465202" y="4895850"/>
                </a:lnTo>
                <a:lnTo>
                  <a:pt x="7408052" y="5067300"/>
                </a:lnTo>
                <a:lnTo>
                  <a:pt x="7674752" y="5314950"/>
                </a:lnTo>
                <a:lnTo>
                  <a:pt x="8227202" y="5467350"/>
                </a:lnTo>
                <a:lnTo>
                  <a:pt x="7941452" y="19050"/>
                </a:lnTo>
                <a:lnTo>
                  <a:pt x="7293752" y="0"/>
                </a:lnTo>
                <a:lnTo>
                  <a:pt x="6855602" y="0"/>
                </a:lnTo>
                <a:lnTo>
                  <a:pt x="5826902" y="190500"/>
                </a:lnTo>
                <a:lnTo>
                  <a:pt x="5122052" y="209550"/>
                </a:lnTo>
                <a:lnTo>
                  <a:pt x="5160152" y="266700"/>
                </a:lnTo>
                <a:lnTo>
                  <a:pt x="4969652" y="285750"/>
                </a:lnTo>
                <a:lnTo>
                  <a:pt x="4988702" y="400050"/>
                </a:lnTo>
                <a:lnTo>
                  <a:pt x="5922152" y="381000"/>
                </a:lnTo>
                <a:lnTo>
                  <a:pt x="6131702" y="457200"/>
                </a:lnTo>
                <a:lnTo>
                  <a:pt x="6322202" y="876300"/>
                </a:lnTo>
                <a:lnTo>
                  <a:pt x="6493652" y="1581150"/>
                </a:lnTo>
                <a:lnTo>
                  <a:pt x="6607952" y="1733550"/>
                </a:lnTo>
                <a:lnTo>
                  <a:pt x="6760352" y="2019300"/>
                </a:lnTo>
                <a:lnTo>
                  <a:pt x="7008002" y="2057400"/>
                </a:lnTo>
                <a:lnTo>
                  <a:pt x="6950852" y="2209800"/>
                </a:lnTo>
                <a:lnTo>
                  <a:pt x="6950852" y="2209800"/>
                </a:lnTo>
                <a:lnTo>
                  <a:pt x="7046102" y="2495550"/>
                </a:lnTo>
                <a:lnTo>
                  <a:pt x="7160402" y="2609850"/>
                </a:lnTo>
                <a:lnTo>
                  <a:pt x="7293752" y="2762250"/>
                </a:lnTo>
                <a:lnTo>
                  <a:pt x="7350902" y="2914650"/>
                </a:lnTo>
                <a:lnTo>
                  <a:pt x="7293752" y="3124200"/>
                </a:lnTo>
                <a:lnTo>
                  <a:pt x="7065152" y="3333750"/>
                </a:lnTo>
                <a:lnTo>
                  <a:pt x="6969902" y="3505200"/>
                </a:lnTo>
                <a:lnTo>
                  <a:pt x="6988952" y="3676650"/>
                </a:lnTo>
                <a:lnTo>
                  <a:pt x="7160402" y="3867150"/>
                </a:lnTo>
                <a:lnTo>
                  <a:pt x="7255652" y="3981450"/>
                </a:lnTo>
                <a:lnTo>
                  <a:pt x="7274702" y="4191000"/>
                </a:lnTo>
                <a:lnTo>
                  <a:pt x="7027052" y="4210050"/>
                </a:lnTo>
                <a:lnTo>
                  <a:pt x="6988952" y="4629150"/>
                </a:lnTo>
                <a:lnTo>
                  <a:pt x="6988952" y="4629150"/>
                </a:lnTo>
                <a:lnTo>
                  <a:pt x="7198502" y="4857750"/>
                </a:lnTo>
                <a:lnTo>
                  <a:pt x="7236602" y="4933950"/>
                </a:lnTo>
                <a:lnTo>
                  <a:pt x="7103252" y="5124450"/>
                </a:lnTo>
                <a:lnTo>
                  <a:pt x="6874652" y="5257800"/>
                </a:lnTo>
                <a:lnTo>
                  <a:pt x="6779402" y="5391150"/>
                </a:lnTo>
                <a:lnTo>
                  <a:pt x="6779402" y="6172200"/>
                </a:lnTo>
                <a:lnTo>
                  <a:pt x="6779402" y="6343650"/>
                </a:lnTo>
                <a:lnTo>
                  <a:pt x="6703202" y="6572250"/>
                </a:lnTo>
                <a:lnTo>
                  <a:pt x="6607952" y="6819900"/>
                </a:lnTo>
                <a:lnTo>
                  <a:pt x="6550802" y="7048500"/>
                </a:lnTo>
                <a:lnTo>
                  <a:pt x="6550802" y="7296150"/>
                </a:lnTo>
                <a:lnTo>
                  <a:pt x="6493652" y="7962900"/>
                </a:lnTo>
                <a:lnTo>
                  <a:pt x="6207902" y="8477250"/>
                </a:lnTo>
                <a:lnTo>
                  <a:pt x="5845952" y="8953500"/>
                </a:lnTo>
                <a:cubicBezTo>
                  <a:pt x="5782452" y="9074150"/>
                  <a:pt x="5738002" y="9159875"/>
                  <a:pt x="5655452" y="9315450"/>
                </a:cubicBezTo>
                <a:lnTo>
                  <a:pt x="5350652" y="9886950"/>
                </a:lnTo>
                <a:cubicBezTo>
                  <a:pt x="5293502" y="9982200"/>
                  <a:pt x="4806139" y="10687050"/>
                  <a:pt x="4798202" y="10687050"/>
                </a:cubicBezTo>
                <a:cubicBezTo>
                  <a:pt x="4709302" y="10814050"/>
                  <a:pt x="4679933" y="11266487"/>
                  <a:pt x="4683902" y="11258549"/>
                </a:cubicBezTo>
                <a:cubicBezTo>
                  <a:pt x="4029852" y="11366499"/>
                  <a:pt x="4502987" y="11296169"/>
                  <a:pt x="3848937" y="11404119"/>
                </a:cubicBezTo>
                <a:lnTo>
                  <a:pt x="3876690" y="8051142"/>
                </a:lnTo>
                <a:cubicBezTo>
                  <a:pt x="3621824" y="8038288"/>
                  <a:pt x="3444652" y="8049339"/>
                  <a:pt x="3189786" y="8036485"/>
                </a:cubicBezTo>
                <a:lnTo>
                  <a:pt x="3082210" y="7893050"/>
                </a:lnTo>
                <a:lnTo>
                  <a:pt x="2448704" y="7887074"/>
                </a:lnTo>
                <a:lnTo>
                  <a:pt x="2252743" y="7971021"/>
                </a:lnTo>
                <a:lnTo>
                  <a:pt x="1960516" y="7953383"/>
                </a:lnTo>
                <a:lnTo>
                  <a:pt x="1859839" y="7872315"/>
                </a:lnTo>
                <a:lnTo>
                  <a:pt x="1695410" y="7852153"/>
                </a:lnTo>
                <a:lnTo>
                  <a:pt x="1435840" y="7574481"/>
                </a:lnTo>
                <a:lnTo>
                  <a:pt x="664354" y="7524749"/>
                </a:lnTo>
                <a:lnTo>
                  <a:pt x="645304" y="8229599"/>
                </a:lnTo>
                <a:lnTo>
                  <a:pt x="542882" y="8139280"/>
                </a:lnTo>
                <a:cubicBezTo>
                  <a:pt x="495257" y="8117055"/>
                  <a:pt x="281430" y="8112386"/>
                  <a:pt x="273493" y="8112386"/>
                </a:cubicBezTo>
                <a:lnTo>
                  <a:pt x="65735" y="8306023"/>
                </a:lnTo>
                <a:cubicBezTo>
                  <a:pt x="49860" y="8302848"/>
                  <a:pt x="8680" y="9377465"/>
                  <a:pt x="742" y="9373496"/>
                </a:cubicBezTo>
                <a:cubicBezTo>
                  <a:pt x="-11958" y="9370321"/>
                  <a:pt x="142701" y="9577890"/>
                  <a:pt x="134764" y="9577890"/>
                </a:cubicBezTo>
                <a:cubicBezTo>
                  <a:pt x="128414" y="9574715"/>
                  <a:pt x="414462" y="9627356"/>
                  <a:pt x="414462" y="9623387"/>
                </a:cubicBezTo>
                <a:lnTo>
                  <a:pt x="662338" y="9469642"/>
                </a:lnTo>
                <a:lnTo>
                  <a:pt x="726883" y="8393877"/>
                </a:lnTo>
              </a:path>
            </a:pathLst>
          </a:cu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Højrepil 2"/>
          <p:cNvSpPr/>
          <p:nvPr/>
        </p:nvSpPr>
        <p:spPr bwMode="auto">
          <a:xfrm>
            <a:off x="2977815" y="694080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Højrepil 5"/>
          <p:cNvSpPr/>
          <p:nvPr/>
        </p:nvSpPr>
        <p:spPr bwMode="auto">
          <a:xfrm>
            <a:off x="6294323" y="760820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Højrepil 6"/>
          <p:cNvSpPr/>
          <p:nvPr/>
        </p:nvSpPr>
        <p:spPr bwMode="auto">
          <a:xfrm rot="4258815">
            <a:off x="7308695" y="1728492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Højrepil 7"/>
          <p:cNvSpPr/>
          <p:nvPr/>
        </p:nvSpPr>
        <p:spPr bwMode="auto">
          <a:xfrm rot="5400000">
            <a:off x="7734180" y="6192093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Højrepil 8"/>
          <p:cNvSpPr/>
          <p:nvPr/>
        </p:nvSpPr>
        <p:spPr bwMode="auto">
          <a:xfrm rot="16200000">
            <a:off x="8971644" y="3377682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Højrepil 9"/>
          <p:cNvSpPr/>
          <p:nvPr/>
        </p:nvSpPr>
        <p:spPr bwMode="auto">
          <a:xfrm rot="993619">
            <a:off x="8766760" y="5779400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Højrepil 10"/>
          <p:cNvSpPr/>
          <p:nvPr/>
        </p:nvSpPr>
        <p:spPr bwMode="auto">
          <a:xfrm rot="17023758">
            <a:off x="7401329" y="7236712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Højrepil 11"/>
          <p:cNvSpPr>
            <a:spLocks noChangeAspect="1"/>
          </p:cNvSpPr>
          <p:nvPr/>
        </p:nvSpPr>
        <p:spPr bwMode="auto">
          <a:xfrm rot="193839">
            <a:off x="5784373" y="7895204"/>
            <a:ext cx="343879" cy="155166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Højrepil 12"/>
          <p:cNvSpPr/>
          <p:nvPr/>
        </p:nvSpPr>
        <p:spPr bwMode="auto">
          <a:xfrm>
            <a:off x="1805552" y="7792869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ktangulær billedforklaring 4"/>
          <p:cNvSpPr/>
          <p:nvPr/>
        </p:nvSpPr>
        <p:spPr bwMode="auto">
          <a:xfrm>
            <a:off x="2037080" y="8935533"/>
            <a:ext cx="1017360" cy="1152371"/>
          </a:xfrm>
          <a:prstGeom prst="wedgeRectCallout">
            <a:avLst>
              <a:gd name="adj1" fmla="val -69664"/>
              <a:gd name="adj2" fmla="val -60420"/>
            </a:avLst>
          </a:prstGeom>
          <a:solidFill>
            <a:srgbClr val="F2F2F2">
              <a:alpha val="63922"/>
            </a:srgbClr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r>
              <a:rPr lang="da-DK" dirty="0" smtClean="0"/>
              <a:t>Egedalshallen</a:t>
            </a:r>
            <a:endParaRPr lang="da-DK" dirty="0"/>
          </a:p>
          <a:p>
            <a:r>
              <a:rPr lang="da-DK" dirty="0"/>
              <a:t>Start</a:t>
            </a:r>
          </a:p>
          <a:p>
            <a:r>
              <a:rPr lang="da-DK" dirty="0"/>
              <a:t>/mål</a:t>
            </a:r>
          </a:p>
        </p:txBody>
      </p:sp>
      <p:sp>
        <p:nvSpPr>
          <p:cNvPr id="21" name="Højrepil 20"/>
          <p:cNvSpPr/>
          <p:nvPr/>
        </p:nvSpPr>
        <p:spPr bwMode="auto">
          <a:xfrm rot="10800000">
            <a:off x="7958063" y="354327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2" name="Højrepil 21"/>
          <p:cNvSpPr/>
          <p:nvPr/>
        </p:nvSpPr>
        <p:spPr bwMode="auto">
          <a:xfrm rot="5622169">
            <a:off x="7367942" y="8131256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3" name="Højrepil 22"/>
          <p:cNvSpPr/>
          <p:nvPr/>
        </p:nvSpPr>
        <p:spPr bwMode="auto">
          <a:xfrm rot="7233632">
            <a:off x="6432614" y="985813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" name="Højrepil 23"/>
          <p:cNvSpPr/>
          <p:nvPr/>
        </p:nvSpPr>
        <p:spPr bwMode="auto">
          <a:xfrm rot="10103817">
            <a:off x="5160984" y="1169801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5" name="Højrepil 24"/>
          <p:cNvSpPr/>
          <p:nvPr/>
        </p:nvSpPr>
        <p:spPr bwMode="auto">
          <a:xfrm rot="16200000">
            <a:off x="4742083" y="10306799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6" name="Højrepil 25"/>
          <p:cNvSpPr/>
          <p:nvPr/>
        </p:nvSpPr>
        <p:spPr bwMode="auto">
          <a:xfrm rot="16200000">
            <a:off x="2586170" y="7320210"/>
            <a:ext cx="313390" cy="133791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7" name="Højrepil 26"/>
          <p:cNvSpPr/>
          <p:nvPr/>
        </p:nvSpPr>
        <p:spPr bwMode="auto">
          <a:xfrm rot="16200000">
            <a:off x="4750861" y="8915563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8" name="Højrepil 27"/>
          <p:cNvSpPr/>
          <p:nvPr/>
        </p:nvSpPr>
        <p:spPr bwMode="auto">
          <a:xfrm rot="5400000">
            <a:off x="1471108" y="8244888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9" name="Højrepil 28"/>
          <p:cNvSpPr/>
          <p:nvPr/>
        </p:nvSpPr>
        <p:spPr bwMode="auto">
          <a:xfrm rot="16200000">
            <a:off x="1603669" y="821787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1" name="Højrepil 30"/>
          <p:cNvSpPr/>
          <p:nvPr/>
        </p:nvSpPr>
        <p:spPr bwMode="auto">
          <a:xfrm rot="5400000">
            <a:off x="910815" y="901762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2" name="Højrepil 31"/>
          <p:cNvSpPr/>
          <p:nvPr/>
        </p:nvSpPr>
        <p:spPr bwMode="auto">
          <a:xfrm rot="16200000">
            <a:off x="1555778" y="9447811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0" name="Højrepil 29"/>
          <p:cNvSpPr/>
          <p:nvPr/>
        </p:nvSpPr>
        <p:spPr bwMode="auto">
          <a:xfrm rot="10963400">
            <a:off x="4379105" y="8387465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4" name="Højrepil 33"/>
          <p:cNvSpPr/>
          <p:nvPr/>
        </p:nvSpPr>
        <p:spPr bwMode="auto">
          <a:xfrm rot="12362176">
            <a:off x="2722099" y="8252724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7" name="Højrepil 36"/>
          <p:cNvSpPr/>
          <p:nvPr/>
        </p:nvSpPr>
        <p:spPr bwMode="auto">
          <a:xfrm rot="5400000">
            <a:off x="4151358" y="7356538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Højrepil 37"/>
          <p:cNvSpPr/>
          <p:nvPr/>
        </p:nvSpPr>
        <p:spPr bwMode="auto">
          <a:xfrm rot="10963400">
            <a:off x="1973575" y="7989282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9" name="Højrepil 38"/>
          <p:cNvSpPr/>
          <p:nvPr/>
        </p:nvSpPr>
        <p:spPr bwMode="auto">
          <a:xfrm rot="18445655">
            <a:off x="7632173" y="5618583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Højrepil 39"/>
          <p:cNvSpPr/>
          <p:nvPr/>
        </p:nvSpPr>
        <p:spPr bwMode="auto">
          <a:xfrm rot="186156">
            <a:off x="8171307" y="4678275"/>
            <a:ext cx="206139" cy="87626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Højrepil 40"/>
          <p:cNvSpPr/>
          <p:nvPr/>
        </p:nvSpPr>
        <p:spPr bwMode="auto">
          <a:xfrm rot="10800000">
            <a:off x="8128725" y="4514669"/>
            <a:ext cx="206139" cy="87626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ktangel 13"/>
          <p:cNvSpPr/>
          <p:nvPr/>
        </p:nvSpPr>
        <p:spPr>
          <a:xfrm>
            <a:off x="2012492" y="8167596"/>
            <a:ext cx="504000" cy="180000"/>
          </a:xfrm>
          <a:prstGeom prst="rect">
            <a:avLst/>
          </a:prstGeom>
          <a:solidFill>
            <a:srgbClr val="F2F2F2">
              <a:alpha val="63922"/>
            </a:srgbClr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r>
              <a:rPr lang="da-DK" sz="1000" b="1" dirty="0" smtClean="0">
                <a:solidFill>
                  <a:srgbClr val="C00000"/>
                </a:solidFill>
              </a:rPr>
              <a:t>5 </a:t>
            </a:r>
            <a:r>
              <a:rPr lang="da-DK" sz="1000" b="1" dirty="0">
                <a:solidFill>
                  <a:srgbClr val="C00000"/>
                </a:solidFill>
              </a:rPr>
              <a:t>km</a:t>
            </a:r>
            <a:endParaRPr lang="da-DK" sz="1000" b="1" dirty="0">
              <a:solidFill>
                <a:srgbClr val="C00000"/>
              </a:solidFill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2092339" y="7591960"/>
            <a:ext cx="576000" cy="180000"/>
          </a:xfrm>
          <a:prstGeom prst="rect">
            <a:avLst/>
          </a:prstGeom>
          <a:solidFill>
            <a:srgbClr val="F2F2F2">
              <a:alpha val="63922"/>
            </a:srgbClr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r>
              <a:rPr lang="da-DK" sz="1000" b="1" dirty="0">
                <a:solidFill>
                  <a:srgbClr val="C00000"/>
                </a:solidFill>
              </a:rPr>
              <a:t>10 km</a:t>
            </a:r>
            <a:endParaRPr lang="da-DK" sz="1000" b="1" dirty="0">
              <a:solidFill>
                <a:srgbClr val="C00000"/>
              </a:solidFill>
            </a:endParaRPr>
          </a:p>
        </p:txBody>
      </p:sp>
      <p:cxnSp>
        <p:nvCxnSpPr>
          <p:cNvPr id="18" name="Lige pilforbindelse 17"/>
          <p:cNvCxnSpPr>
            <a:stCxn id="15" idx="2"/>
          </p:cNvCxnSpPr>
          <p:nvPr/>
        </p:nvCxnSpPr>
        <p:spPr bwMode="auto">
          <a:xfrm>
            <a:off x="2380339" y="7771960"/>
            <a:ext cx="150988" cy="178860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2" name="Højrepil 41"/>
          <p:cNvSpPr/>
          <p:nvPr/>
        </p:nvSpPr>
        <p:spPr bwMode="auto">
          <a:xfrm rot="4258815">
            <a:off x="8302342" y="5008141"/>
            <a:ext cx="479957" cy="144000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3" name="Højrepil 42"/>
          <p:cNvSpPr/>
          <p:nvPr/>
        </p:nvSpPr>
        <p:spPr bwMode="auto">
          <a:xfrm rot="4258815">
            <a:off x="8212870" y="3191078"/>
            <a:ext cx="364441" cy="108403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7485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8.09410509476548870000E+000&quot;&gt;&lt;m_ppcolschidx val=&quot;0&quot;/&gt;&lt;m_rgb r=&quot;b4&quot; g=&quot;b4&quot; b=&quot;a5&quot;/&gt;&lt;/elem&gt;&lt;elem m_fUsage=&quot;1.79960208934018140000E+000&quot;&gt;&lt;m_ppcolschidx val=&quot;0&quot;/&gt;&lt;m_rgb r=&quot;6e&quot; g=&quot;73&quot; b=&quot;19&quot;/&gt;&lt;/elem&gt;&lt;elem m_fUsage=&quot;2.83281681734600210000E-002&quot;&gt;&lt;m_ppcolschidx val=&quot;0&quot;/&gt;&lt;m_rgb r=&quot;b4&quot; g=&quot;d7&quot; b=&quot;e1&quot;/&gt;&lt;/elem&gt;&lt;elem m_fUsage=&quot;2.07004787506497490000E-002&quot;&gt;&lt;m_ppcolschidx val=&quot;0&quot;/&gt;&lt;m_rgb r=&quot;be&quot; g=&quot;af&quot; b=&quot;5a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8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D4XJ9ak2Opf9dalL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Q0u41WUWdIXSFk.ta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FQFYDvUi4erUcgr5u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D4XJ9ak2Opf9dalL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ulWzJch0OR7nY7BqyR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OHUL79REin1kWuIVTX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N0dkMl4EWCBhont5.E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Q0u41WUWdIXSFk.ta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FQFYDvUi4erUcgr5ueg"/>
</p:tagLst>
</file>

<file path=ppt/theme/theme1.xml><?xml version="1.0" encoding="utf-8"?>
<a:theme xmlns:a="http://schemas.openxmlformats.org/drawingml/2006/main" name="Blank">
  <a:themeElements>
    <a:clrScheme name="DONG Energy 1">
      <a:dk1>
        <a:sysClr val="windowText" lastClr="000000"/>
      </a:dk1>
      <a:lt1>
        <a:sysClr val="window" lastClr="FFFFFF"/>
      </a:lt1>
      <a:dk2>
        <a:srgbClr val="595959"/>
      </a:dk2>
      <a:lt2>
        <a:srgbClr val="0F96AA"/>
      </a:lt2>
      <a:accent1>
        <a:srgbClr val="B9C515"/>
      </a:accent1>
      <a:accent2>
        <a:srgbClr val="004669"/>
      </a:accent2>
      <a:accent3>
        <a:srgbClr val="BFBFBF"/>
      </a:accent3>
      <a:accent4>
        <a:srgbClr val="629415"/>
      </a:accent4>
      <a:accent5>
        <a:srgbClr val="CADCEC"/>
      </a:accent5>
      <a:accent6>
        <a:srgbClr val="E5D066"/>
      </a:accent6>
      <a:hlink>
        <a:srgbClr val="696E68"/>
      </a:hlink>
      <a:folHlink>
        <a:srgbClr val="262626"/>
      </a:folHlink>
    </a:clrScheme>
    <a:fontScheme name="DONG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/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</a:objectDefaults>
  <a:extraClrSchemeLst>
    <a:extraClrScheme>
      <a:clrScheme name="DONG energ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3">
        <a:dk1>
          <a:srgbClr val="000000"/>
        </a:dk1>
        <a:lt1>
          <a:srgbClr val="FFFFFF"/>
        </a:lt1>
        <a:dk2>
          <a:srgbClr val="7F847B"/>
        </a:dk2>
        <a:lt2>
          <a:srgbClr val="C30F10"/>
        </a:lt2>
        <a:accent1>
          <a:srgbClr val="B5BAAF"/>
        </a:accent1>
        <a:accent2>
          <a:srgbClr val="0E98AE"/>
        </a:accent2>
        <a:accent3>
          <a:srgbClr val="FFFFFF"/>
        </a:accent3>
        <a:accent4>
          <a:srgbClr val="000000"/>
        </a:accent4>
        <a:accent5>
          <a:srgbClr val="D7D9D4"/>
        </a:accent5>
        <a:accent6>
          <a:srgbClr val="0C899D"/>
        </a:accent6>
        <a:hlink>
          <a:srgbClr val="B9C523"/>
        </a:hlink>
        <a:folHlink>
          <a:srgbClr val="FF8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</Words>
  <Application>Microsoft Office PowerPoint</Application>
  <PresentationFormat>A3 (297 x 420 mm)</PresentationFormat>
  <Paragraphs>5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5" baseType="lpstr">
      <vt:lpstr>Arial</vt:lpstr>
      <vt:lpstr>Wingdings</vt:lpstr>
      <vt:lpstr>Blank</vt:lpstr>
      <vt:lpstr>think-cell Slide</vt:lpstr>
      <vt:lpstr>PowerPoint-præ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8-11T06:00:41Z</dcterms:created>
  <dcterms:modified xsi:type="dcterms:W3CDTF">2015-09-22T18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rrentLanguage">
    <vt:lpwstr>English UK</vt:lpwstr>
  </property>
</Properties>
</file>